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5.xml" ContentType="application/vnd.openxmlformats-officedocument.presentationml.notesSlide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09" r:id="rId3"/>
    <p:sldMasterId id="2147483758" r:id="rId4"/>
  </p:sldMasterIdLst>
  <p:notesMasterIdLst>
    <p:notesMasterId r:id="rId28"/>
  </p:notesMasterIdLst>
  <p:sldIdLst>
    <p:sldId id="2147483015" r:id="rId5"/>
    <p:sldId id="280" r:id="rId6"/>
    <p:sldId id="307" r:id="rId7"/>
    <p:sldId id="2147483035" r:id="rId8"/>
    <p:sldId id="308" r:id="rId9"/>
    <p:sldId id="2147483018" r:id="rId10"/>
    <p:sldId id="293" r:id="rId11"/>
    <p:sldId id="2147483025" r:id="rId12"/>
    <p:sldId id="2147483028" r:id="rId13"/>
    <p:sldId id="2147483034" r:id="rId14"/>
    <p:sldId id="2147483016" r:id="rId15"/>
    <p:sldId id="2147483017" r:id="rId16"/>
    <p:sldId id="2147483031" r:id="rId17"/>
    <p:sldId id="2147483030" r:id="rId18"/>
    <p:sldId id="2147483020" r:id="rId19"/>
    <p:sldId id="2147483019" r:id="rId20"/>
    <p:sldId id="2147483021" r:id="rId21"/>
    <p:sldId id="2147483022" r:id="rId22"/>
    <p:sldId id="2147483032" r:id="rId23"/>
    <p:sldId id="2147483033" r:id="rId24"/>
    <p:sldId id="2147483023" r:id="rId25"/>
    <p:sldId id="2147483024" r:id="rId26"/>
    <p:sldId id="2147483029" r:id="rId27"/>
  </p:sldIdLst>
  <p:sldSz cx="12192000" cy="6858000"/>
  <p:notesSz cx="6858000" cy="9144000"/>
  <p:custDataLst>
    <p:tags r:id="rId29"/>
  </p:custDataLst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B156B"/>
    <a:srgbClr val="F8A387"/>
    <a:srgbClr val="275317"/>
    <a:srgbClr val="8FC7D3"/>
    <a:srgbClr val="279396"/>
    <a:srgbClr val="884D83"/>
    <a:srgbClr val="E3CBDA"/>
    <a:srgbClr val="A6D2D8"/>
    <a:srgbClr val="F2675C"/>
    <a:srgbClr val="0181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0" d="100"/>
          <a:sy n="50" d="100"/>
        </p:scale>
        <p:origin x="92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15D6AA-3529-4254-BB3D-E5586F4DCDC8}" type="datetimeFigureOut">
              <a:rPr lang="es-MX" smtClean="0"/>
              <a:t>10/09/2024</a:t>
            </a:fld>
            <a:endParaRPr lang="es-MX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262977-BE9D-4BFE-B934-CE9A7BFBE583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813335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" name="Google Shape;1133;g2e9236c09df_0_109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34" name="Google Shape;1134;g2e9236c09df_0_10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864778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5F80CA-0B62-4806-84EF-87D648B4ECD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05371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5F80CA-0B62-4806-84EF-87D648B4ECD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75359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5F80CA-0B62-4806-84EF-87D648B4ECD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84744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262977-BE9D-4BFE-B934-CE9A7BFBE583}" type="slidenum">
              <a:rPr lang="es-MX" smtClean="0"/>
              <a:t>2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39621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2.png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emf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image" Target="../media/image27.emf"/><Relationship Id="rId4" Type="http://schemas.openxmlformats.org/officeDocument/2006/relationships/tags" Target="../tags/tag7.xml"/><Relationship Id="rId9" Type="http://schemas.openxmlformats.org/officeDocument/2006/relationships/oleObject" Target="../embeddings/oleObject3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27.emf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9.xml"/><Relationship Id="rId7" Type="http://schemas.openxmlformats.org/officeDocument/2006/relationships/image" Target="../media/image28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3.emf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1.png"/><Relationship Id="rId4" Type="http://schemas.openxmlformats.org/officeDocument/2006/relationships/image" Target="../media/image35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1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3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47CCFF-8A9A-24C7-6C28-7B1B5BC6E7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8715AC-00D7-4FA3-32F3-954C330655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MX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9376A4-7600-082F-DB09-F0D0EFDDAC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300395-9271-488F-86C4-5FEC6C905882}" type="datetimeFigureOut">
              <a:rPr lang="es-MX" smtClean="0"/>
              <a:t>10/09/2024</a:t>
            </a:fld>
            <a:endParaRPr lang="es-MX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CE6B3-70AB-3C9B-296D-EB910BDE6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98A69E-5E21-BDBE-B2B1-29940E0E7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A463C-CDBA-4079-B6FD-839D1C64C1F9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41541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D7742D-705C-9CC3-45D8-9CA5E14B15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E33C78-1EA5-FACE-D00F-4098F771A1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BB8E11-401E-6B6A-8C6F-43219E274D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300395-9271-488F-86C4-5FEC6C905882}" type="datetimeFigureOut">
              <a:rPr lang="es-MX" smtClean="0"/>
              <a:t>10/09/2024</a:t>
            </a:fld>
            <a:endParaRPr lang="es-MX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5D0857-8C13-A5B8-4CB9-5FCAD2B3A7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D00D85-F5B4-F140-CC31-F3395A24F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A463C-CDBA-4079-B6FD-839D1C64C1F9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72257409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413048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338-020C-AD1A-58C0-1E2252F80F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6064556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 descr="A blue and white logo&#10;&#10;Description automatically generated">
            <a:extLst>
              <a:ext uri="{FF2B5EF4-FFF2-40B4-BE49-F238E27FC236}">
                <a16:creationId xmlns:a16="http://schemas.microsoft.com/office/drawing/2014/main" id="{AC0BD0CF-E901-1F49-7489-7018F1A846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32" y="0"/>
            <a:ext cx="3477768" cy="6858000"/>
          </a:xfrm>
          <a:prstGeom prst="rect">
            <a:avLst/>
          </a:prstGeom>
        </p:spPr>
      </p:pic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31D7AA62-BCA4-5372-4DCC-B435A700D2D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492700" y="0"/>
            <a:ext cx="6704013" cy="6858000"/>
          </a:xfrm>
          <a:custGeom>
            <a:avLst/>
            <a:gdLst>
              <a:gd name="connsiteX0" fmla="*/ 84669 w 4360424"/>
              <a:gd name="connsiteY0" fmla="*/ 0 h 4460580"/>
              <a:gd name="connsiteX1" fmla="*/ 2423376 w 4360424"/>
              <a:gd name="connsiteY1" fmla="*/ 0 h 4460580"/>
              <a:gd name="connsiteX2" fmla="*/ 2279852 w 4360424"/>
              <a:gd name="connsiteY2" fmla="*/ 1262799 h 4460580"/>
              <a:gd name="connsiteX3" fmla="*/ 2279852 w 4360424"/>
              <a:gd name="connsiteY3" fmla="*/ 1263831 h 4460580"/>
              <a:gd name="connsiteX4" fmla="*/ 3347501 w 4360424"/>
              <a:gd name="connsiteY4" fmla="*/ 3112081 h 4460580"/>
              <a:gd name="connsiteX5" fmla="*/ 4360424 w 4360424"/>
              <a:gd name="connsiteY5" fmla="*/ 3642807 h 4460580"/>
              <a:gd name="connsiteX6" fmla="*/ 4360424 w 4360424"/>
              <a:gd name="connsiteY6" fmla="*/ 4460580 h 4460580"/>
              <a:gd name="connsiteX7" fmla="*/ 1033 w 4360424"/>
              <a:gd name="connsiteY7" fmla="*/ 4460580 h 4460580"/>
              <a:gd name="connsiteX8" fmla="*/ 0 w 4360424"/>
              <a:gd name="connsiteY8" fmla="*/ 4428571 h 4460580"/>
              <a:gd name="connsiteX9" fmla="*/ 533824 w 4360424"/>
              <a:gd name="connsiteY9" fmla="*/ 3504447 h 4460580"/>
              <a:gd name="connsiteX10" fmla="*/ 925158 w 4360424"/>
              <a:gd name="connsiteY10" fmla="*/ 2044433 h 4460580"/>
              <a:gd name="connsiteX11" fmla="*/ 533824 w 4360424"/>
              <a:gd name="connsiteY11" fmla="*/ 1654132 h 4460580"/>
              <a:gd name="connsiteX12" fmla="*/ 0 w 4360424"/>
              <a:gd name="connsiteY12" fmla="*/ 728975 h 4460580"/>
              <a:gd name="connsiteX13" fmla="*/ 84669 w 4360424"/>
              <a:gd name="connsiteY13" fmla="*/ 0 h 4460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360424" h="4460580">
                <a:moveTo>
                  <a:pt x="84669" y="0"/>
                </a:moveTo>
                <a:cubicBezTo>
                  <a:pt x="84669" y="0"/>
                  <a:pt x="84669" y="0"/>
                  <a:pt x="2423376" y="0"/>
                </a:cubicBezTo>
                <a:cubicBezTo>
                  <a:pt x="2111548" y="334544"/>
                  <a:pt x="2039270" y="845652"/>
                  <a:pt x="2279852" y="1262799"/>
                </a:cubicBezTo>
                <a:cubicBezTo>
                  <a:pt x="2279852" y="1262799"/>
                  <a:pt x="2279852" y="1263831"/>
                  <a:pt x="2279852" y="1263831"/>
                </a:cubicBezTo>
                <a:cubicBezTo>
                  <a:pt x="2279852" y="1263831"/>
                  <a:pt x="2279852" y="1263831"/>
                  <a:pt x="3347501" y="3112081"/>
                </a:cubicBezTo>
                <a:cubicBezTo>
                  <a:pt x="3561237" y="3481731"/>
                  <a:pt x="3961863" y="3675848"/>
                  <a:pt x="4360424" y="3642807"/>
                </a:cubicBezTo>
                <a:lnTo>
                  <a:pt x="4360424" y="4460580"/>
                </a:lnTo>
                <a:cubicBezTo>
                  <a:pt x="4360424" y="4460580"/>
                  <a:pt x="4360424" y="4460580"/>
                  <a:pt x="1033" y="4460580"/>
                </a:cubicBezTo>
                <a:cubicBezTo>
                  <a:pt x="0" y="4450255"/>
                  <a:pt x="0" y="4439929"/>
                  <a:pt x="0" y="4428571"/>
                </a:cubicBezTo>
                <a:cubicBezTo>
                  <a:pt x="0" y="4034140"/>
                  <a:pt x="214769" y="3689272"/>
                  <a:pt x="533824" y="3504447"/>
                </a:cubicBezTo>
                <a:cubicBezTo>
                  <a:pt x="1044932" y="3209140"/>
                  <a:pt x="1220465" y="2555541"/>
                  <a:pt x="925158" y="2044433"/>
                </a:cubicBezTo>
                <a:cubicBezTo>
                  <a:pt x="828099" y="1876128"/>
                  <a:pt x="691803" y="1743963"/>
                  <a:pt x="533824" y="1654132"/>
                </a:cubicBezTo>
                <a:cubicBezTo>
                  <a:pt x="215801" y="1469307"/>
                  <a:pt x="1033" y="1123406"/>
                  <a:pt x="0" y="728975"/>
                </a:cubicBezTo>
                <a:cubicBezTo>
                  <a:pt x="1033" y="483230"/>
                  <a:pt x="29944" y="238517"/>
                  <a:pt x="84669" y="0"/>
                </a:cubicBezTo>
                <a:close/>
              </a:path>
            </a:pathLst>
          </a:custGeom>
        </p:spPr>
        <p:txBody>
          <a:bodyPr wrap="square" lIns="360000" tIns="720000">
            <a:no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DD782ED-2E52-0B10-229F-72089511AF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4937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37E8A8-F9EE-A285-FF1E-7C72507165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72168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olorful background with circles&#10;&#10;Description automatically generated with medium confidence">
            <a:extLst>
              <a:ext uri="{FF2B5EF4-FFF2-40B4-BE49-F238E27FC236}">
                <a16:creationId xmlns:a16="http://schemas.microsoft.com/office/drawing/2014/main" id="{C91B6CF2-2640-B246-06EA-F829113211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1240" y="0"/>
            <a:ext cx="10052304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570220-4AD5-881C-771E-B6B519D7DB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062644" y="166948"/>
            <a:ext cx="2030412" cy="1387210"/>
          </a:xfrm>
        </p:spPr>
        <p:txBody>
          <a:bodyPr/>
          <a:lstStyle>
            <a:lvl1pPr>
              <a:defRPr sz="9600" b="0" spc="-30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#.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1419309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lots on a white background&#10;&#10;Description automatically generated">
            <a:extLst>
              <a:ext uri="{FF2B5EF4-FFF2-40B4-BE49-F238E27FC236}">
                <a16:creationId xmlns:a16="http://schemas.microsoft.com/office/drawing/2014/main" id="{38AE2E2E-B5FC-5672-3429-3E8A6AB109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" y="0"/>
            <a:ext cx="1218996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547446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2803490"/>
            <a:ext cx="5040000" cy="1009685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570220-4AD5-881C-771E-B6B519D7DB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062644" y="166948"/>
            <a:ext cx="2030412" cy="1387210"/>
          </a:xfrm>
        </p:spPr>
        <p:txBody>
          <a:bodyPr/>
          <a:lstStyle>
            <a:lvl1pPr>
              <a:defRPr sz="9600" b="0" spc="-30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#.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165585-72E5-0935-2895-827D52B47E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1873949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86F59D-D881-497A-A3D7-9E84C70B9A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A1B211-621F-40BA-BC33-7EDF1C8CD1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MX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AF101F-89D6-492F-A8C6-BBB64215F0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EDDC5D-0433-4608-AB7C-235DA9E70D63}" type="datetimeFigureOut">
              <a:rPr lang="es-MX" smtClean="0"/>
              <a:t>10/09/2024</a:t>
            </a:fld>
            <a:endParaRPr lang="es-MX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B4CCE9-ACB4-4F38-83DA-BDB988CF0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F5C9C0-962A-4EAE-8C84-4B9EDDDFE5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0F033F-28D0-4847-9171-63E519473AA0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91666895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2E27646-95EC-7B46-864C-376179648F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40502"/>
            <a:ext cx="12192000" cy="5334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A1E2F13-67A8-A54D-9863-35D4934F246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26886" y="6497774"/>
            <a:ext cx="1465026" cy="21544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03A2B10-B383-CE4A-AABC-24D5E5B6A1D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356132" y="223796"/>
            <a:ext cx="1625600" cy="87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64233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fallOver"/>
      </p:transition>
    </mc:Choice>
    <mc:Fallback xmlns="">
      <p:transition spd="slow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parad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ADD4949A-CB3F-8A41-A21F-12F28304A37B}"/>
              </a:ext>
            </a:extLst>
          </p:cNvPr>
          <p:cNvSpPr/>
          <p:nvPr userDrawn="1"/>
        </p:nvSpPr>
        <p:spPr>
          <a:xfrm>
            <a:off x="0" y="0"/>
            <a:ext cx="12192000" cy="60594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169EAC-4E26-864A-A61F-5C29C7C0B00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78182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7A495A-1263-3740-8BC2-C5B6A5DF7D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57857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50CF2A0-63E8-024D-BC40-7E5D487E62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5749" y="6342258"/>
            <a:ext cx="1499038" cy="2737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E56DD67-5082-D74E-A483-430782E5E3FA}"/>
              </a:ext>
            </a:extLst>
          </p:cNvPr>
          <p:cNvSpPr txBox="1"/>
          <p:nvPr userDrawn="1"/>
        </p:nvSpPr>
        <p:spPr>
          <a:xfrm>
            <a:off x="259226" y="6424694"/>
            <a:ext cx="58221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_tradnl" sz="700" b="1">
                <a:solidFill>
                  <a:schemeClr val="tx2"/>
                </a:solidFill>
              </a:rPr>
              <a:t>GILENY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0B76B2C-9FE1-0D41-ABA1-9191D2E4AD2D}"/>
              </a:ext>
            </a:extLst>
          </p:cNvPr>
          <p:cNvCxnSpPr>
            <a:cxnSpLocks/>
          </p:cNvCxnSpPr>
          <p:nvPr userDrawn="1"/>
        </p:nvCxnSpPr>
        <p:spPr>
          <a:xfrm>
            <a:off x="941826" y="6469954"/>
            <a:ext cx="0" cy="12492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5B3C371-1AE5-1A48-9D11-F1A1B1BB12E8}"/>
              </a:ext>
            </a:extLst>
          </p:cNvPr>
          <p:cNvSpPr txBox="1"/>
          <p:nvPr userDrawn="1"/>
        </p:nvSpPr>
        <p:spPr>
          <a:xfrm>
            <a:off x="1112047" y="6424694"/>
            <a:ext cx="55335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_tradnl" sz="700" b="1">
                <a:solidFill>
                  <a:schemeClr val="tx2"/>
                </a:solidFill>
              </a:rPr>
              <a:t>IPS 2020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3D00B9B-5495-5E49-9CE4-4565A2DF2DDA}"/>
              </a:ext>
            </a:extLst>
          </p:cNvPr>
          <p:cNvCxnSpPr>
            <a:cxnSpLocks/>
          </p:cNvCxnSpPr>
          <p:nvPr userDrawn="1"/>
        </p:nvCxnSpPr>
        <p:spPr>
          <a:xfrm>
            <a:off x="1781643" y="6469954"/>
            <a:ext cx="0" cy="12492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F12640F-0E08-6649-A46B-68BB5C48237D}"/>
              </a:ext>
            </a:extLst>
          </p:cNvPr>
          <p:cNvSpPr txBox="1"/>
          <p:nvPr userDrawn="1"/>
        </p:nvSpPr>
        <p:spPr>
          <a:xfrm>
            <a:off x="1835624" y="6424694"/>
            <a:ext cx="53892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_tradnl" sz="700" b="1">
                <a:solidFill>
                  <a:schemeClr val="tx2"/>
                </a:solidFill>
              </a:rPr>
              <a:t>MEXICO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D758F8E-A671-E547-ACF7-22DB600A0A18}"/>
              </a:ext>
            </a:extLst>
          </p:cNvPr>
          <p:cNvCxnSpPr>
            <a:cxnSpLocks/>
          </p:cNvCxnSpPr>
          <p:nvPr userDrawn="1"/>
        </p:nvCxnSpPr>
        <p:spPr>
          <a:xfrm>
            <a:off x="2408848" y="6469954"/>
            <a:ext cx="0" cy="12492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1E093E97-4852-8B4A-92BE-7B5E4AD46B93}"/>
              </a:ext>
            </a:extLst>
          </p:cNvPr>
          <p:cNvSpPr txBox="1"/>
          <p:nvPr userDrawn="1"/>
        </p:nvSpPr>
        <p:spPr>
          <a:xfrm>
            <a:off x="539918" y="6572847"/>
            <a:ext cx="94128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Business Use Onl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D743C9-9B44-ED43-A50B-B4A393922965}"/>
              </a:ext>
            </a:extLst>
          </p:cNvPr>
          <p:cNvSpPr txBox="1"/>
          <p:nvPr userDrawn="1"/>
        </p:nvSpPr>
        <p:spPr>
          <a:xfrm>
            <a:off x="244645" y="6572847"/>
            <a:ext cx="29527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AC2E81D0-2DD2-C04D-94BB-87A9281A3B78}" type="slidenum">
              <a:rPr lang="es-ES_tradnl" sz="700" b="1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s-ES_tradnl" sz="700" b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FA152D4-2D19-B447-B447-2F91894D5E0A}"/>
              </a:ext>
            </a:extLst>
          </p:cNvPr>
          <p:cNvSpPr/>
          <p:nvPr userDrawn="1"/>
        </p:nvSpPr>
        <p:spPr>
          <a:xfrm>
            <a:off x="-5975" y="0"/>
            <a:ext cx="1529975" cy="1426464"/>
          </a:xfrm>
          <a:prstGeom prst="rect">
            <a:avLst/>
          </a:prstGeom>
          <a:solidFill>
            <a:schemeClr val="bg1"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471A98E-F95B-D74B-9C74-320A24E1CABE}"/>
              </a:ext>
            </a:extLst>
          </p:cNvPr>
          <p:cNvSpPr/>
          <p:nvPr userDrawn="1"/>
        </p:nvSpPr>
        <p:spPr>
          <a:xfrm>
            <a:off x="1281233" y="-1"/>
            <a:ext cx="1000819" cy="584725"/>
          </a:xfrm>
          <a:prstGeom prst="rect">
            <a:avLst/>
          </a:prstGeom>
          <a:solidFill>
            <a:schemeClr val="bg1"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5B56A4F-6BD4-8546-83C1-AC294AFE3F89}"/>
              </a:ext>
            </a:extLst>
          </p:cNvPr>
          <p:cNvSpPr/>
          <p:nvPr userDrawn="1"/>
        </p:nvSpPr>
        <p:spPr>
          <a:xfrm>
            <a:off x="952049" y="890015"/>
            <a:ext cx="1000819" cy="999254"/>
          </a:xfrm>
          <a:prstGeom prst="rect">
            <a:avLst/>
          </a:prstGeom>
          <a:solidFill>
            <a:schemeClr val="bg1"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305263F-5B4B-E747-94CE-13AD1AFEF6E7}"/>
              </a:ext>
            </a:extLst>
          </p:cNvPr>
          <p:cNvSpPr/>
          <p:nvPr userDrawn="1"/>
        </p:nvSpPr>
        <p:spPr>
          <a:xfrm rot="10800000">
            <a:off x="10662025" y="0"/>
            <a:ext cx="1529975" cy="1426464"/>
          </a:xfrm>
          <a:prstGeom prst="rect">
            <a:avLst/>
          </a:prstGeom>
          <a:solidFill>
            <a:schemeClr val="bg1"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03A48B2-4762-1F46-B6F9-6094AA159E49}"/>
              </a:ext>
            </a:extLst>
          </p:cNvPr>
          <p:cNvSpPr/>
          <p:nvPr userDrawn="1"/>
        </p:nvSpPr>
        <p:spPr>
          <a:xfrm rot="10800000">
            <a:off x="11854058" y="1026586"/>
            <a:ext cx="337942" cy="651596"/>
          </a:xfrm>
          <a:prstGeom prst="rect">
            <a:avLst/>
          </a:prstGeom>
          <a:solidFill>
            <a:schemeClr val="bg1"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6516B08-EFDC-F44C-8885-E8E976B7129A}"/>
              </a:ext>
            </a:extLst>
          </p:cNvPr>
          <p:cNvSpPr/>
          <p:nvPr userDrawn="1"/>
        </p:nvSpPr>
        <p:spPr>
          <a:xfrm rot="10800000">
            <a:off x="10173565" y="891123"/>
            <a:ext cx="1000819" cy="999254"/>
          </a:xfrm>
          <a:prstGeom prst="rect">
            <a:avLst/>
          </a:prstGeom>
          <a:solidFill>
            <a:schemeClr val="bg1"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33728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 G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0D77B0-9BA7-5C4B-B7A8-C6D6A9F68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1"/>
            <a:ext cx="10515600" cy="1024128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46F0F1-6249-D549-9771-4FA1030427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5749" y="6342258"/>
            <a:ext cx="1499038" cy="2737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94AB796-8FDB-9946-B57E-6001CDE373D3}"/>
              </a:ext>
            </a:extLst>
          </p:cNvPr>
          <p:cNvSpPr txBox="1"/>
          <p:nvPr userDrawn="1"/>
        </p:nvSpPr>
        <p:spPr>
          <a:xfrm>
            <a:off x="259226" y="6424694"/>
            <a:ext cx="58221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_tradnl" sz="700" b="1">
                <a:solidFill>
                  <a:schemeClr val="tx2"/>
                </a:solidFill>
              </a:rPr>
              <a:t>GILENY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8D4212-96D9-7545-A03A-8D8BF8AF7E75}"/>
              </a:ext>
            </a:extLst>
          </p:cNvPr>
          <p:cNvCxnSpPr>
            <a:cxnSpLocks/>
          </p:cNvCxnSpPr>
          <p:nvPr userDrawn="1"/>
        </p:nvCxnSpPr>
        <p:spPr>
          <a:xfrm>
            <a:off x="941826" y="6469954"/>
            <a:ext cx="0" cy="12492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5AA7C974-8B85-9044-A56D-D56116BC3AD5}"/>
              </a:ext>
            </a:extLst>
          </p:cNvPr>
          <p:cNvSpPr txBox="1"/>
          <p:nvPr userDrawn="1"/>
        </p:nvSpPr>
        <p:spPr>
          <a:xfrm>
            <a:off x="1112047" y="6424694"/>
            <a:ext cx="55335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_tradnl" sz="700" b="1">
                <a:solidFill>
                  <a:schemeClr val="tx2"/>
                </a:solidFill>
              </a:rPr>
              <a:t>IPS 2020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50F4C9C-0867-E74D-B1A2-0B2617F2C3C6}"/>
              </a:ext>
            </a:extLst>
          </p:cNvPr>
          <p:cNvCxnSpPr>
            <a:cxnSpLocks/>
          </p:cNvCxnSpPr>
          <p:nvPr userDrawn="1"/>
        </p:nvCxnSpPr>
        <p:spPr>
          <a:xfrm>
            <a:off x="1781643" y="6469954"/>
            <a:ext cx="0" cy="12492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DCFE70E-CC5A-8141-A1B3-881D1675EB39}"/>
              </a:ext>
            </a:extLst>
          </p:cNvPr>
          <p:cNvSpPr txBox="1"/>
          <p:nvPr userDrawn="1"/>
        </p:nvSpPr>
        <p:spPr>
          <a:xfrm>
            <a:off x="1835624" y="6424694"/>
            <a:ext cx="53892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_tradnl" sz="700" b="1">
                <a:solidFill>
                  <a:schemeClr val="tx2"/>
                </a:solidFill>
              </a:rPr>
              <a:t>MEXICO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1E9832C-49B1-114A-833F-548F355F08E7}"/>
              </a:ext>
            </a:extLst>
          </p:cNvPr>
          <p:cNvCxnSpPr>
            <a:cxnSpLocks/>
          </p:cNvCxnSpPr>
          <p:nvPr userDrawn="1"/>
        </p:nvCxnSpPr>
        <p:spPr>
          <a:xfrm>
            <a:off x="2408848" y="6469954"/>
            <a:ext cx="0" cy="12492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8C3FC95-BB58-3341-851E-4C5681ECA4A9}"/>
              </a:ext>
            </a:extLst>
          </p:cNvPr>
          <p:cNvSpPr txBox="1"/>
          <p:nvPr userDrawn="1"/>
        </p:nvSpPr>
        <p:spPr>
          <a:xfrm>
            <a:off x="539918" y="6572847"/>
            <a:ext cx="94128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Business Use Onl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CAE8753-7ECD-C747-9DAF-4AEDA0663E13}"/>
              </a:ext>
            </a:extLst>
          </p:cNvPr>
          <p:cNvSpPr txBox="1"/>
          <p:nvPr userDrawn="1"/>
        </p:nvSpPr>
        <p:spPr>
          <a:xfrm>
            <a:off x="244645" y="6572847"/>
            <a:ext cx="29527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AC2E81D0-2DD2-C04D-94BB-87A9281A3B78}" type="slidenum">
              <a:rPr lang="es-ES_tradnl" sz="700" b="1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s-ES_tradnl" sz="700" b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60CBF3-C756-C24A-B9DC-87B50DF45520}"/>
              </a:ext>
            </a:extLst>
          </p:cNvPr>
          <p:cNvSpPr/>
          <p:nvPr userDrawn="1"/>
        </p:nvSpPr>
        <p:spPr>
          <a:xfrm rot="10800000">
            <a:off x="11482934" y="3920066"/>
            <a:ext cx="709065" cy="1426464"/>
          </a:xfrm>
          <a:prstGeom prst="rect">
            <a:avLst/>
          </a:prstGeom>
          <a:solidFill>
            <a:schemeClr val="tx2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8B5EEEF-5987-5B46-992D-4643250613B8}"/>
              </a:ext>
            </a:extLst>
          </p:cNvPr>
          <p:cNvSpPr/>
          <p:nvPr userDrawn="1"/>
        </p:nvSpPr>
        <p:spPr>
          <a:xfrm rot="10800000">
            <a:off x="10994475" y="4811189"/>
            <a:ext cx="1000819" cy="999254"/>
          </a:xfrm>
          <a:prstGeom prst="rect">
            <a:avLst/>
          </a:prstGeom>
          <a:solidFill>
            <a:schemeClr val="tx2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D62519E-226D-694D-B5FF-C3A0A48004A8}"/>
              </a:ext>
            </a:extLst>
          </p:cNvPr>
          <p:cNvSpPr/>
          <p:nvPr userDrawn="1"/>
        </p:nvSpPr>
        <p:spPr>
          <a:xfrm rot="10800000">
            <a:off x="-1" y="1193800"/>
            <a:ext cx="643466" cy="1426464"/>
          </a:xfrm>
          <a:prstGeom prst="rect">
            <a:avLst/>
          </a:prstGeom>
          <a:solidFill>
            <a:schemeClr val="tx2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1503FD-CEB8-EE44-BC95-F39ABABE3065}"/>
              </a:ext>
            </a:extLst>
          </p:cNvPr>
          <p:cNvSpPr/>
          <p:nvPr userDrawn="1"/>
        </p:nvSpPr>
        <p:spPr>
          <a:xfrm rot="10800000">
            <a:off x="305524" y="2220386"/>
            <a:ext cx="564500" cy="651596"/>
          </a:xfrm>
          <a:prstGeom prst="rect">
            <a:avLst/>
          </a:prstGeom>
          <a:solidFill>
            <a:schemeClr val="tx2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32F173-0D75-8E43-817C-1608B0D39874}"/>
              </a:ext>
            </a:extLst>
          </p:cNvPr>
          <p:cNvSpPr/>
          <p:nvPr userDrawn="1"/>
        </p:nvSpPr>
        <p:spPr>
          <a:xfrm>
            <a:off x="0" y="-2207"/>
            <a:ext cx="9403292" cy="873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A3DE5EF-BC4B-D148-8FB7-BDEAA19D595B}"/>
              </a:ext>
            </a:extLst>
          </p:cNvPr>
          <p:cNvSpPr/>
          <p:nvPr userDrawn="1"/>
        </p:nvSpPr>
        <p:spPr>
          <a:xfrm>
            <a:off x="9517591" y="-2207"/>
            <a:ext cx="2674409" cy="873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590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0EA798B-D44F-CD23-82A4-D1D585ACDBF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2C6BCEB-AAE7-CB9F-19F0-74545B6184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EA46CB-058A-C53B-914A-7B97946A96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300395-9271-488F-86C4-5FEC6C905882}" type="datetimeFigureOut">
              <a:rPr lang="es-MX" smtClean="0"/>
              <a:t>10/09/2024</a:t>
            </a:fld>
            <a:endParaRPr lang="es-MX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6169A5-509D-D715-9CBA-DEF24BA327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88D7A9-DBFD-FA11-E3FF-03E0D863A5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A463C-CDBA-4079-B6FD-839D1C64C1F9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21217790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 Gral Sin 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346F0F1-6249-D549-9771-4FA1030427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5749" y="6342258"/>
            <a:ext cx="1499038" cy="2737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94AB796-8FDB-9946-B57E-6001CDE373D3}"/>
              </a:ext>
            </a:extLst>
          </p:cNvPr>
          <p:cNvSpPr txBox="1"/>
          <p:nvPr userDrawn="1"/>
        </p:nvSpPr>
        <p:spPr>
          <a:xfrm>
            <a:off x="259226" y="6424694"/>
            <a:ext cx="58221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_tradnl" sz="700" b="1">
                <a:solidFill>
                  <a:schemeClr val="tx2"/>
                </a:solidFill>
              </a:rPr>
              <a:t>GILENY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8D4212-96D9-7545-A03A-8D8BF8AF7E75}"/>
              </a:ext>
            </a:extLst>
          </p:cNvPr>
          <p:cNvCxnSpPr>
            <a:cxnSpLocks/>
          </p:cNvCxnSpPr>
          <p:nvPr userDrawn="1"/>
        </p:nvCxnSpPr>
        <p:spPr>
          <a:xfrm>
            <a:off x="941826" y="6469954"/>
            <a:ext cx="0" cy="12492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5AA7C974-8B85-9044-A56D-D56116BC3AD5}"/>
              </a:ext>
            </a:extLst>
          </p:cNvPr>
          <p:cNvSpPr txBox="1"/>
          <p:nvPr userDrawn="1"/>
        </p:nvSpPr>
        <p:spPr>
          <a:xfrm>
            <a:off x="1112047" y="6424694"/>
            <a:ext cx="55335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_tradnl" sz="700" b="1">
                <a:solidFill>
                  <a:schemeClr val="tx2"/>
                </a:solidFill>
              </a:rPr>
              <a:t>IPS 2020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50F4C9C-0867-E74D-B1A2-0B2617F2C3C6}"/>
              </a:ext>
            </a:extLst>
          </p:cNvPr>
          <p:cNvCxnSpPr>
            <a:cxnSpLocks/>
          </p:cNvCxnSpPr>
          <p:nvPr userDrawn="1"/>
        </p:nvCxnSpPr>
        <p:spPr>
          <a:xfrm>
            <a:off x="1781643" y="6469954"/>
            <a:ext cx="0" cy="12492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DCFE70E-CC5A-8141-A1B3-881D1675EB39}"/>
              </a:ext>
            </a:extLst>
          </p:cNvPr>
          <p:cNvSpPr txBox="1"/>
          <p:nvPr userDrawn="1"/>
        </p:nvSpPr>
        <p:spPr>
          <a:xfrm>
            <a:off x="1835624" y="6424694"/>
            <a:ext cx="53892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_tradnl" sz="700" b="1">
                <a:solidFill>
                  <a:schemeClr val="tx2"/>
                </a:solidFill>
              </a:rPr>
              <a:t>MEXICO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1E9832C-49B1-114A-833F-548F355F08E7}"/>
              </a:ext>
            </a:extLst>
          </p:cNvPr>
          <p:cNvCxnSpPr>
            <a:cxnSpLocks/>
          </p:cNvCxnSpPr>
          <p:nvPr userDrawn="1"/>
        </p:nvCxnSpPr>
        <p:spPr>
          <a:xfrm>
            <a:off x="2408848" y="6469954"/>
            <a:ext cx="0" cy="12492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38C3FC95-BB58-3341-851E-4C5681ECA4A9}"/>
              </a:ext>
            </a:extLst>
          </p:cNvPr>
          <p:cNvSpPr txBox="1"/>
          <p:nvPr userDrawn="1"/>
        </p:nvSpPr>
        <p:spPr>
          <a:xfrm>
            <a:off x="539918" y="6572847"/>
            <a:ext cx="94128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Business Use Onl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CAE8753-7ECD-C747-9DAF-4AEDA0663E13}"/>
              </a:ext>
            </a:extLst>
          </p:cNvPr>
          <p:cNvSpPr txBox="1"/>
          <p:nvPr userDrawn="1"/>
        </p:nvSpPr>
        <p:spPr>
          <a:xfrm>
            <a:off x="244645" y="6572847"/>
            <a:ext cx="29527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AC2E81D0-2DD2-C04D-94BB-87A9281A3B78}" type="slidenum">
              <a:rPr lang="es-ES_tradnl" sz="700" b="1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s-ES_tradnl" sz="700" b="1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38631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193411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DiapoGral_Tittl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207" y="240333"/>
            <a:ext cx="11393587" cy="369332"/>
          </a:xfrm>
        </p:spPr>
        <p:txBody>
          <a:bodyPr wrap="square" anchor="ctr">
            <a:spAutoFit/>
          </a:bodyPr>
          <a:lstStyle>
            <a:lvl1pPr algn="ctr">
              <a:defRPr sz="19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32483"/>
            <a:ext cx="10515600" cy="4351338"/>
          </a:xfrm>
        </p:spPr>
        <p:txBody>
          <a:bodyPr/>
          <a:lstStyle>
            <a:lvl1pPr marL="228600" indent="-228600">
              <a:buClr>
                <a:schemeClr val="tx2"/>
              </a:buClr>
              <a:buFont typeface="Wingdings" pitchFamily="2" charset="2"/>
              <a:buChar char="§"/>
              <a:defRPr/>
            </a:lvl1pPr>
            <a:lvl2pPr marL="685800" indent="-228600">
              <a:buClr>
                <a:schemeClr val="tx2"/>
              </a:buClr>
              <a:buFont typeface="Wingdings" pitchFamily="2" charset="2"/>
              <a:buChar char="§"/>
              <a:defRPr/>
            </a:lvl2pPr>
            <a:lvl3pPr marL="1143000" indent="-228600">
              <a:buClr>
                <a:schemeClr val="tx2"/>
              </a:buClr>
              <a:buFont typeface="Wingdings" pitchFamily="2" charset="2"/>
              <a:buChar char="§"/>
              <a:defRPr/>
            </a:lvl3pPr>
            <a:lvl4pPr marL="1600200" indent="-228600">
              <a:buClr>
                <a:schemeClr val="tx2"/>
              </a:buClr>
              <a:buFont typeface="Wingdings" pitchFamily="2" charset="2"/>
              <a:buChar char="§"/>
              <a:defRPr/>
            </a:lvl4pPr>
            <a:lvl5pPr marL="2057400" indent="-228600">
              <a:buClr>
                <a:schemeClr val="tx2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610EFA89-C265-6E45-8873-FCCC09F55732}"/>
              </a:ext>
            </a:extLst>
          </p:cNvPr>
          <p:cNvSpPr/>
          <p:nvPr userDrawn="1"/>
        </p:nvSpPr>
        <p:spPr>
          <a:xfrm>
            <a:off x="10489570" y="6428307"/>
            <a:ext cx="1480311" cy="323849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13ED6E42-BC09-DB48-8B96-DEE8AB0B0474}"/>
              </a:ext>
            </a:extLst>
          </p:cNvPr>
          <p:cNvSpPr txBox="1"/>
          <p:nvPr userDrawn="1"/>
        </p:nvSpPr>
        <p:spPr>
          <a:xfrm>
            <a:off x="353709" y="6625014"/>
            <a:ext cx="1457113" cy="1205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00" b="1" spc="-5">
                <a:solidFill>
                  <a:schemeClr val="tx2"/>
                </a:solidFill>
                <a:latin typeface="Arial"/>
                <a:cs typeface="Arial"/>
              </a:rPr>
              <a:t>Gilenya</a:t>
            </a:r>
            <a:r>
              <a:rPr sz="675" b="1" spc="-7" baseline="24691">
                <a:solidFill>
                  <a:schemeClr val="tx2"/>
                </a:solidFill>
                <a:latin typeface="Arial"/>
                <a:cs typeface="Arial"/>
              </a:rPr>
              <a:t>®</a:t>
            </a:r>
            <a:r>
              <a:rPr sz="675" b="1" spc="-7" baseline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sz="700" spc="-5">
                <a:solidFill>
                  <a:schemeClr val="tx2"/>
                </a:solidFill>
                <a:latin typeface="Arial"/>
                <a:cs typeface="Arial"/>
              </a:rPr>
              <a:t>Business</a:t>
            </a:r>
            <a:r>
              <a:rPr sz="700" spc="-15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sz="700" spc="-5">
                <a:solidFill>
                  <a:schemeClr val="tx2"/>
                </a:solidFill>
                <a:latin typeface="Arial"/>
                <a:cs typeface="Arial"/>
              </a:rPr>
              <a:t>Review</a:t>
            </a:r>
            <a:endParaRPr sz="70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849F4074-F95D-D247-BAAB-5A2EC0E6BBEE}"/>
              </a:ext>
            </a:extLst>
          </p:cNvPr>
          <p:cNvSpPr txBox="1"/>
          <p:nvPr userDrawn="1"/>
        </p:nvSpPr>
        <p:spPr>
          <a:xfrm>
            <a:off x="2071719" y="6625014"/>
            <a:ext cx="1352125" cy="1205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700" spc="-5">
                <a:solidFill>
                  <a:srgbClr val="595958"/>
                </a:solidFill>
                <a:latin typeface="Arial"/>
                <a:cs typeface="Arial"/>
              </a:rPr>
              <a:t>Exclusive for internal</a:t>
            </a:r>
            <a:r>
              <a:rPr sz="700" spc="-30">
                <a:solidFill>
                  <a:srgbClr val="595958"/>
                </a:solidFill>
                <a:latin typeface="Arial"/>
                <a:cs typeface="Arial"/>
              </a:rPr>
              <a:t> </a:t>
            </a:r>
            <a:r>
              <a:rPr sz="700" spc="-5">
                <a:solidFill>
                  <a:srgbClr val="595958"/>
                </a:solidFill>
                <a:latin typeface="Arial"/>
                <a:cs typeface="Arial"/>
              </a:rPr>
              <a:t>use</a:t>
            </a:r>
            <a:endParaRPr sz="700">
              <a:latin typeface="Arial"/>
              <a:cs typeface="Arial"/>
            </a:endParaRPr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6175F7CB-8081-EA40-AAD2-BFC30EFB5CD5}"/>
              </a:ext>
            </a:extLst>
          </p:cNvPr>
          <p:cNvSpPr/>
          <p:nvPr userDrawn="1"/>
        </p:nvSpPr>
        <p:spPr>
          <a:xfrm>
            <a:off x="1916069" y="6649973"/>
            <a:ext cx="0" cy="100330"/>
          </a:xfrm>
          <a:custGeom>
            <a:avLst/>
            <a:gdLst/>
            <a:ahLst/>
            <a:cxnLst/>
            <a:rect l="l" t="t" r="r" b="b"/>
            <a:pathLst>
              <a:path h="100329">
                <a:moveTo>
                  <a:pt x="0" y="0"/>
                </a:moveTo>
                <a:lnTo>
                  <a:pt x="0" y="100025"/>
                </a:lnTo>
              </a:path>
            </a:pathLst>
          </a:custGeom>
          <a:ln w="6096">
            <a:solidFill>
              <a:srgbClr val="D0CECE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8321ACFD-8AF4-EB42-AFD1-0D01D948684B}"/>
              </a:ext>
            </a:extLst>
          </p:cNvPr>
          <p:cNvSpPr/>
          <p:nvPr userDrawn="1"/>
        </p:nvSpPr>
        <p:spPr>
          <a:xfrm>
            <a:off x="3566053" y="6649973"/>
            <a:ext cx="0" cy="100330"/>
          </a:xfrm>
          <a:custGeom>
            <a:avLst/>
            <a:gdLst/>
            <a:ahLst/>
            <a:cxnLst/>
            <a:rect l="l" t="t" r="r" b="b"/>
            <a:pathLst>
              <a:path h="100329">
                <a:moveTo>
                  <a:pt x="0" y="0"/>
                </a:moveTo>
                <a:lnTo>
                  <a:pt x="0" y="100025"/>
                </a:lnTo>
              </a:path>
            </a:pathLst>
          </a:custGeom>
          <a:ln w="6096">
            <a:solidFill>
              <a:srgbClr val="D0CECE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2" name="object 7">
            <a:extLst>
              <a:ext uri="{FF2B5EF4-FFF2-40B4-BE49-F238E27FC236}">
                <a16:creationId xmlns:a16="http://schemas.microsoft.com/office/drawing/2014/main" id="{E15DBB72-FBA9-2443-A223-D72EE0AB9ED1}"/>
              </a:ext>
            </a:extLst>
          </p:cNvPr>
          <p:cNvSpPr/>
          <p:nvPr userDrawn="1"/>
        </p:nvSpPr>
        <p:spPr>
          <a:xfrm>
            <a:off x="4142125" y="6649973"/>
            <a:ext cx="0" cy="100330"/>
          </a:xfrm>
          <a:custGeom>
            <a:avLst/>
            <a:gdLst/>
            <a:ahLst/>
            <a:cxnLst/>
            <a:rect l="l" t="t" r="r" b="b"/>
            <a:pathLst>
              <a:path h="100329">
                <a:moveTo>
                  <a:pt x="0" y="0"/>
                </a:moveTo>
                <a:lnTo>
                  <a:pt x="0" y="100025"/>
                </a:lnTo>
              </a:path>
            </a:pathLst>
          </a:custGeom>
          <a:ln w="6096">
            <a:solidFill>
              <a:srgbClr val="D0CECE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3" name="object 8">
            <a:extLst>
              <a:ext uri="{FF2B5EF4-FFF2-40B4-BE49-F238E27FC236}">
                <a16:creationId xmlns:a16="http://schemas.microsoft.com/office/drawing/2014/main" id="{38A82991-9922-B547-BE15-A52B5109B6B0}"/>
              </a:ext>
            </a:extLst>
          </p:cNvPr>
          <p:cNvSpPr txBox="1"/>
          <p:nvPr userDrawn="1"/>
        </p:nvSpPr>
        <p:spPr>
          <a:xfrm>
            <a:off x="3779110" y="6625014"/>
            <a:ext cx="166793" cy="1205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fld id="{4847EFBC-A7A0-5F46-AC43-ABC5F8409D0E}" type="slidenum">
              <a:rPr lang="en-US" sz="700" spc="-5" dirty="0">
                <a:solidFill>
                  <a:srgbClr val="595958"/>
                </a:solidFill>
                <a:latin typeface="Arial"/>
                <a:cs typeface="Arial"/>
              </a:rPr>
              <a:pPr marL="12700" algn="ctr">
                <a:lnSpc>
                  <a:spcPct val="100000"/>
                </a:lnSpc>
                <a:spcBef>
                  <a:spcPts val="100"/>
                </a:spcBef>
              </a:pPr>
              <a:t>‹#›</a:t>
            </a:fld>
            <a:endParaRPr sz="7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3212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524DAE0-AADF-81BF-0508-982EC88804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84856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4007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73383FC-F738-A1A9-0803-D406460DED84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521619" y="0"/>
            <a:ext cx="6670381" cy="6858000"/>
          </a:xfrm>
          <a:custGeom>
            <a:avLst/>
            <a:gdLst>
              <a:gd name="connsiteX0" fmla="*/ 3510347 w 4571991"/>
              <a:gd name="connsiteY0" fmla="*/ 0 h 4700588"/>
              <a:gd name="connsiteX1" fmla="*/ 4571991 w 4571991"/>
              <a:gd name="connsiteY1" fmla="*/ 0 h 4700588"/>
              <a:gd name="connsiteX2" fmla="*/ 4571991 w 4571991"/>
              <a:gd name="connsiteY2" fmla="*/ 4700588 h 4700588"/>
              <a:gd name="connsiteX3" fmla="*/ 4571547 w 4571991"/>
              <a:gd name="connsiteY3" fmla="*/ 4700588 h 4700588"/>
              <a:gd name="connsiteX4" fmla="*/ 4557323 w 4571991"/>
              <a:gd name="connsiteY4" fmla="*/ 4700588 h 4700588"/>
              <a:gd name="connsiteX5" fmla="*/ 4541829 w 4571991"/>
              <a:gd name="connsiteY5" fmla="*/ 4700588 h 4700588"/>
              <a:gd name="connsiteX6" fmla="*/ 4518715 w 4571991"/>
              <a:gd name="connsiteY6" fmla="*/ 4700588 h 4700588"/>
              <a:gd name="connsiteX7" fmla="*/ 4486457 w 4571991"/>
              <a:gd name="connsiteY7" fmla="*/ 4700588 h 4700588"/>
              <a:gd name="connsiteX8" fmla="*/ 4443532 w 4571991"/>
              <a:gd name="connsiteY8" fmla="*/ 4700588 h 4700588"/>
              <a:gd name="connsiteX9" fmla="*/ 4388414 w 4571991"/>
              <a:gd name="connsiteY9" fmla="*/ 4700588 h 4700588"/>
              <a:gd name="connsiteX10" fmla="*/ 4319580 w 4571991"/>
              <a:gd name="connsiteY10" fmla="*/ 4700588 h 4700588"/>
              <a:gd name="connsiteX11" fmla="*/ 4235507 w 4571991"/>
              <a:gd name="connsiteY11" fmla="*/ 4700588 h 4700588"/>
              <a:gd name="connsiteX12" fmla="*/ 4134670 w 4571991"/>
              <a:gd name="connsiteY12" fmla="*/ 4700588 h 4700588"/>
              <a:gd name="connsiteX13" fmla="*/ 4015544 w 4571991"/>
              <a:gd name="connsiteY13" fmla="*/ 4700588 h 4700588"/>
              <a:gd name="connsiteX14" fmla="*/ 3876607 w 4571991"/>
              <a:gd name="connsiteY14" fmla="*/ 4700588 h 4700588"/>
              <a:gd name="connsiteX15" fmla="*/ 3716334 w 4571991"/>
              <a:gd name="connsiteY15" fmla="*/ 4700588 h 4700588"/>
              <a:gd name="connsiteX16" fmla="*/ 3533201 w 4571991"/>
              <a:gd name="connsiteY16" fmla="*/ 4700588 h 4700588"/>
              <a:gd name="connsiteX17" fmla="*/ 3423286 w 4571991"/>
              <a:gd name="connsiteY17" fmla="*/ 4550431 h 4700588"/>
              <a:gd name="connsiteX18" fmla="*/ 3098984 w 4571991"/>
              <a:gd name="connsiteY18" fmla="*/ 4226177 h 4700588"/>
              <a:gd name="connsiteX19" fmla="*/ 1889925 w 4571991"/>
              <a:gd name="connsiteY19" fmla="*/ 4550431 h 4700588"/>
              <a:gd name="connsiteX20" fmla="*/ 1780010 w 4571991"/>
              <a:gd name="connsiteY20" fmla="*/ 4700588 h 4700588"/>
              <a:gd name="connsiteX21" fmla="*/ 1777443 w 4571991"/>
              <a:gd name="connsiteY21" fmla="*/ 4700588 h 4700588"/>
              <a:gd name="connsiteX22" fmla="*/ 1771345 w 4571991"/>
              <a:gd name="connsiteY22" fmla="*/ 4700588 h 4700588"/>
              <a:gd name="connsiteX23" fmla="*/ 1759469 w 4571991"/>
              <a:gd name="connsiteY23" fmla="*/ 4700588 h 4700588"/>
              <a:gd name="connsiteX24" fmla="*/ 1739891 w 4571991"/>
              <a:gd name="connsiteY24" fmla="*/ 4700588 h 4700588"/>
              <a:gd name="connsiteX25" fmla="*/ 1710685 w 4571991"/>
              <a:gd name="connsiteY25" fmla="*/ 4700588 h 4700588"/>
              <a:gd name="connsiteX26" fmla="*/ 1669924 w 4571991"/>
              <a:gd name="connsiteY26" fmla="*/ 4700588 h 4700588"/>
              <a:gd name="connsiteX27" fmla="*/ 1615683 w 4571991"/>
              <a:gd name="connsiteY27" fmla="*/ 4700588 h 4700588"/>
              <a:gd name="connsiteX28" fmla="*/ 1546036 w 4571991"/>
              <a:gd name="connsiteY28" fmla="*/ 4700588 h 4700588"/>
              <a:gd name="connsiteX29" fmla="*/ 1459058 w 4571991"/>
              <a:gd name="connsiteY29" fmla="*/ 4700588 h 4700588"/>
              <a:gd name="connsiteX30" fmla="*/ 1352823 w 4571991"/>
              <a:gd name="connsiteY30" fmla="*/ 4700588 h 4700588"/>
              <a:gd name="connsiteX31" fmla="*/ 1225405 w 4571991"/>
              <a:gd name="connsiteY31" fmla="*/ 4700588 h 4700588"/>
              <a:gd name="connsiteX32" fmla="*/ 1074878 w 4571991"/>
              <a:gd name="connsiteY32" fmla="*/ 4700588 h 4700588"/>
              <a:gd name="connsiteX33" fmla="*/ 899317 w 4571991"/>
              <a:gd name="connsiteY33" fmla="*/ 4700588 h 4700588"/>
              <a:gd name="connsiteX34" fmla="*/ 696796 w 4571991"/>
              <a:gd name="connsiteY34" fmla="*/ 4700588 h 4700588"/>
              <a:gd name="connsiteX35" fmla="*/ 584824 w 4571991"/>
              <a:gd name="connsiteY35" fmla="*/ 4700588 h 4700588"/>
              <a:gd name="connsiteX36" fmla="*/ 465390 w 4571991"/>
              <a:gd name="connsiteY36" fmla="*/ 4700588 h 4700588"/>
              <a:gd name="connsiteX37" fmla="*/ 356564 w 4571991"/>
              <a:gd name="connsiteY37" fmla="*/ 4550431 h 4700588"/>
              <a:gd name="connsiteX38" fmla="*/ 342416 w 4571991"/>
              <a:gd name="connsiteY38" fmla="*/ 4525404 h 4700588"/>
              <a:gd name="connsiteX39" fmla="*/ 1328382 w 4571991"/>
              <a:gd name="connsiteY39" fmla="*/ 922708 h 4700588"/>
              <a:gd name="connsiteX40" fmla="*/ 2656061 w 4571991"/>
              <a:gd name="connsiteY40" fmla="*/ 567988 h 4700588"/>
              <a:gd name="connsiteX41" fmla="*/ 3423286 w 4571991"/>
              <a:gd name="connsiteY41" fmla="*/ 125131 h 470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4571991" h="4700588">
                <a:moveTo>
                  <a:pt x="3510347" y="0"/>
                </a:moveTo>
                <a:lnTo>
                  <a:pt x="4571991" y="0"/>
                </a:lnTo>
                <a:lnTo>
                  <a:pt x="4571991" y="4700588"/>
                </a:lnTo>
                <a:lnTo>
                  <a:pt x="4571547" y="4700588"/>
                </a:lnTo>
                <a:lnTo>
                  <a:pt x="4557323" y="4700588"/>
                </a:lnTo>
                <a:lnTo>
                  <a:pt x="4541829" y="4700588"/>
                </a:lnTo>
                <a:lnTo>
                  <a:pt x="4518715" y="4700588"/>
                </a:lnTo>
                <a:lnTo>
                  <a:pt x="4486457" y="4700588"/>
                </a:lnTo>
                <a:lnTo>
                  <a:pt x="4443532" y="4700588"/>
                </a:lnTo>
                <a:lnTo>
                  <a:pt x="4388414" y="4700588"/>
                </a:lnTo>
                <a:lnTo>
                  <a:pt x="4319580" y="4700588"/>
                </a:lnTo>
                <a:lnTo>
                  <a:pt x="4235507" y="4700588"/>
                </a:lnTo>
                <a:lnTo>
                  <a:pt x="4134670" y="4700588"/>
                </a:lnTo>
                <a:lnTo>
                  <a:pt x="4015544" y="4700588"/>
                </a:lnTo>
                <a:lnTo>
                  <a:pt x="3876607" y="4700588"/>
                </a:lnTo>
                <a:lnTo>
                  <a:pt x="3716334" y="4700588"/>
                </a:lnTo>
                <a:lnTo>
                  <a:pt x="3533201" y="4700588"/>
                </a:lnTo>
                <a:cubicBezTo>
                  <a:pt x="3490758" y="4654888"/>
                  <a:pt x="3454846" y="4604836"/>
                  <a:pt x="3423286" y="4550431"/>
                </a:cubicBezTo>
                <a:cubicBezTo>
                  <a:pt x="3348196" y="4419859"/>
                  <a:pt x="3238282" y="4306696"/>
                  <a:pt x="3098984" y="4226177"/>
                </a:cubicBezTo>
                <a:cubicBezTo>
                  <a:pt x="2675650" y="3982443"/>
                  <a:pt x="2133695" y="4127160"/>
                  <a:pt x="1889925" y="4550431"/>
                </a:cubicBezTo>
                <a:cubicBezTo>
                  <a:pt x="1858365" y="4604836"/>
                  <a:pt x="1821364" y="4654888"/>
                  <a:pt x="1780010" y="4700588"/>
                </a:cubicBezTo>
                <a:lnTo>
                  <a:pt x="1777443" y="4700588"/>
                </a:lnTo>
                <a:lnTo>
                  <a:pt x="1771345" y="4700588"/>
                </a:lnTo>
                <a:lnTo>
                  <a:pt x="1759469" y="4700588"/>
                </a:lnTo>
                <a:lnTo>
                  <a:pt x="1739891" y="4700588"/>
                </a:lnTo>
                <a:lnTo>
                  <a:pt x="1710685" y="4700588"/>
                </a:lnTo>
                <a:lnTo>
                  <a:pt x="1669924" y="4700588"/>
                </a:lnTo>
                <a:lnTo>
                  <a:pt x="1615683" y="4700588"/>
                </a:lnTo>
                <a:lnTo>
                  <a:pt x="1546036" y="4700588"/>
                </a:lnTo>
                <a:lnTo>
                  <a:pt x="1459058" y="4700588"/>
                </a:lnTo>
                <a:lnTo>
                  <a:pt x="1352823" y="4700588"/>
                </a:lnTo>
                <a:lnTo>
                  <a:pt x="1225405" y="4700588"/>
                </a:lnTo>
                <a:lnTo>
                  <a:pt x="1074878" y="4700588"/>
                </a:lnTo>
                <a:lnTo>
                  <a:pt x="899317" y="4700588"/>
                </a:lnTo>
                <a:lnTo>
                  <a:pt x="696796" y="4700588"/>
                </a:lnTo>
                <a:lnTo>
                  <a:pt x="584824" y="4700588"/>
                </a:lnTo>
                <a:lnTo>
                  <a:pt x="465390" y="4700588"/>
                </a:lnTo>
                <a:cubicBezTo>
                  <a:pt x="424036" y="4654888"/>
                  <a:pt x="388123" y="4604836"/>
                  <a:pt x="356564" y="4550431"/>
                </a:cubicBezTo>
                <a:cubicBezTo>
                  <a:pt x="355475" y="4548254"/>
                  <a:pt x="345681" y="4531933"/>
                  <a:pt x="342416" y="4525404"/>
                </a:cubicBezTo>
                <a:cubicBezTo>
                  <a:pt x="-371484" y="3259945"/>
                  <a:pt x="65998" y="1651735"/>
                  <a:pt x="1328382" y="922708"/>
                </a:cubicBezTo>
                <a:cubicBezTo>
                  <a:pt x="1747362" y="681150"/>
                  <a:pt x="2205521" y="566900"/>
                  <a:pt x="2656061" y="567988"/>
                </a:cubicBezTo>
                <a:cubicBezTo>
                  <a:pt x="2961863" y="566900"/>
                  <a:pt x="3258959" y="409125"/>
                  <a:pt x="3423286" y="125131"/>
                </a:cubicBezTo>
                <a:close/>
              </a:path>
            </a:pathLst>
          </a:custGeom>
        </p:spPr>
        <p:txBody>
          <a:bodyPr wrap="square" tIns="144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88426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8579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7020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05C31BD-5A4F-89BA-3E8D-7678595A9D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65509" y="184019"/>
            <a:ext cx="6526491" cy="6670835"/>
          </a:xfrm>
          <a:custGeom>
            <a:avLst/>
            <a:gdLst>
              <a:gd name="connsiteX0" fmla="*/ 2627552 w 4665662"/>
              <a:gd name="connsiteY0" fmla="*/ 0 h 4768850"/>
              <a:gd name="connsiteX1" fmla="*/ 4665662 w 4665662"/>
              <a:gd name="connsiteY1" fmla="*/ 970551 h 4768850"/>
              <a:gd name="connsiteX2" fmla="*/ 4665662 w 4665662"/>
              <a:gd name="connsiteY2" fmla="*/ 2455856 h 4768850"/>
              <a:gd name="connsiteX3" fmla="*/ 4582913 w 4665662"/>
              <a:gd name="connsiteY3" fmla="*/ 2510279 h 4768850"/>
              <a:gd name="connsiteX4" fmla="*/ 4219046 w 4665662"/>
              <a:gd name="connsiteY4" fmla="*/ 2624795 h 4768850"/>
              <a:gd name="connsiteX5" fmla="*/ 4144232 w 4665662"/>
              <a:gd name="connsiteY5" fmla="*/ 2628197 h 4768850"/>
              <a:gd name="connsiteX6" fmla="*/ 3351886 w 4665662"/>
              <a:gd name="connsiteY6" fmla="*/ 3130479 h 4768850"/>
              <a:gd name="connsiteX7" fmla="*/ 3269137 w 4665662"/>
              <a:gd name="connsiteY7" fmla="*/ 3504640 h 4768850"/>
              <a:gd name="connsiteX8" fmla="*/ 3385892 w 4665662"/>
              <a:gd name="connsiteY8" fmla="*/ 3942295 h 4768850"/>
              <a:gd name="connsiteX9" fmla="*/ 3413097 w 4665662"/>
              <a:gd name="connsiteY9" fmla="*/ 4768850 h 4768850"/>
              <a:gd name="connsiteX10" fmla="*/ 1101804 w 4665662"/>
              <a:gd name="connsiteY10" fmla="*/ 4768850 h 4768850"/>
              <a:gd name="connsiteX11" fmla="*/ 0 w 4665662"/>
              <a:gd name="connsiteY11" fmla="*/ 2628197 h 4768850"/>
              <a:gd name="connsiteX12" fmla="*/ 1745656 w 4665662"/>
              <a:gd name="connsiteY12" fmla="*/ 151932 h 4768850"/>
              <a:gd name="connsiteX13" fmla="*/ 1756991 w 4665662"/>
              <a:gd name="connsiteY13" fmla="*/ 147397 h 4768850"/>
              <a:gd name="connsiteX14" fmla="*/ 2627552 w 4665662"/>
              <a:gd name="connsiteY14" fmla="*/ 0 h 4768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665662" h="4768850">
                <a:moveTo>
                  <a:pt x="2627552" y="0"/>
                </a:moveTo>
                <a:cubicBezTo>
                  <a:pt x="3450504" y="0"/>
                  <a:pt x="4183906" y="378696"/>
                  <a:pt x="4665662" y="970551"/>
                </a:cubicBezTo>
                <a:cubicBezTo>
                  <a:pt x="4665662" y="970551"/>
                  <a:pt x="4665662" y="970551"/>
                  <a:pt x="4665662" y="2455856"/>
                </a:cubicBezTo>
                <a:cubicBezTo>
                  <a:pt x="4639591" y="2476265"/>
                  <a:pt x="4611252" y="2494406"/>
                  <a:pt x="4582913" y="2510279"/>
                </a:cubicBezTo>
                <a:cubicBezTo>
                  <a:pt x="4467292" y="2577175"/>
                  <a:pt x="4343736" y="2614591"/>
                  <a:pt x="4219046" y="2624795"/>
                </a:cubicBezTo>
                <a:cubicBezTo>
                  <a:pt x="4194108" y="2627063"/>
                  <a:pt x="4169170" y="2628197"/>
                  <a:pt x="4144232" y="2628197"/>
                </a:cubicBezTo>
                <a:cubicBezTo>
                  <a:pt x="3793968" y="2628197"/>
                  <a:pt x="3492445" y="2833418"/>
                  <a:pt x="3351886" y="3130479"/>
                </a:cubicBezTo>
                <a:cubicBezTo>
                  <a:pt x="3298610" y="3243861"/>
                  <a:pt x="3269137" y="3370849"/>
                  <a:pt x="3269137" y="3504640"/>
                </a:cubicBezTo>
                <a:cubicBezTo>
                  <a:pt x="3269137" y="3664509"/>
                  <a:pt x="3311079" y="3814173"/>
                  <a:pt x="3385892" y="3942295"/>
                </a:cubicBezTo>
                <a:cubicBezTo>
                  <a:pt x="3537787" y="4206475"/>
                  <a:pt x="3537787" y="4514874"/>
                  <a:pt x="3413097" y="4768850"/>
                </a:cubicBezTo>
                <a:cubicBezTo>
                  <a:pt x="3413097" y="4768850"/>
                  <a:pt x="3413097" y="4768850"/>
                  <a:pt x="1101804" y="4768850"/>
                </a:cubicBezTo>
                <a:cubicBezTo>
                  <a:pt x="435281" y="4292646"/>
                  <a:pt x="0" y="3511443"/>
                  <a:pt x="0" y="2628197"/>
                </a:cubicBezTo>
                <a:cubicBezTo>
                  <a:pt x="0" y="1486439"/>
                  <a:pt x="728868" y="514755"/>
                  <a:pt x="1745656" y="151932"/>
                </a:cubicBezTo>
                <a:cubicBezTo>
                  <a:pt x="1749057" y="150798"/>
                  <a:pt x="1753591" y="149664"/>
                  <a:pt x="1756991" y="147397"/>
                </a:cubicBezTo>
                <a:cubicBezTo>
                  <a:pt x="2030175" y="52156"/>
                  <a:pt x="2322629" y="0"/>
                  <a:pt x="2627552" y="0"/>
                </a:cubicBezTo>
                <a:close/>
              </a:path>
            </a:pathLst>
          </a:custGeom>
        </p:spPr>
        <p:txBody>
          <a:bodyPr wrap="square" tIns="144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226B258-ED27-B1F7-D598-04611B0882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30025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58D9B2D-42FA-997F-617F-AAE6DCA49E1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788530" y="-1"/>
            <a:ext cx="7403470" cy="6858000"/>
          </a:xfrm>
          <a:custGeom>
            <a:avLst/>
            <a:gdLst>
              <a:gd name="connsiteX0" fmla="*/ 0 w 5041900"/>
              <a:gd name="connsiteY0" fmla="*/ 0 h 4670425"/>
              <a:gd name="connsiteX1" fmla="*/ 3971 w 5041900"/>
              <a:gd name="connsiteY1" fmla="*/ 0 h 4670425"/>
              <a:gd name="connsiteX2" fmla="*/ 13401 w 5041900"/>
              <a:gd name="connsiteY2" fmla="*/ 0 h 4670425"/>
              <a:gd name="connsiteX3" fmla="*/ 31765 w 5041900"/>
              <a:gd name="connsiteY3" fmla="*/ 0 h 4670425"/>
              <a:gd name="connsiteX4" fmla="*/ 62040 w 5041900"/>
              <a:gd name="connsiteY4" fmla="*/ 0 h 4670425"/>
              <a:gd name="connsiteX5" fmla="*/ 107205 w 5041900"/>
              <a:gd name="connsiteY5" fmla="*/ 0 h 4670425"/>
              <a:gd name="connsiteX6" fmla="*/ 170237 w 5041900"/>
              <a:gd name="connsiteY6" fmla="*/ 0 h 4670425"/>
              <a:gd name="connsiteX7" fmla="*/ 254115 w 5041900"/>
              <a:gd name="connsiteY7" fmla="*/ 0 h 4670425"/>
              <a:gd name="connsiteX8" fmla="*/ 361816 w 5041900"/>
              <a:gd name="connsiteY8" fmla="*/ 0 h 4670425"/>
              <a:gd name="connsiteX9" fmla="*/ 496318 w 5041900"/>
              <a:gd name="connsiteY9" fmla="*/ 0 h 4670425"/>
              <a:gd name="connsiteX10" fmla="*/ 574550 w 5041900"/>
              <a:gd name="connsiteY10" fmla="*/ 0 h 4670425"/>
              <a:gd name="connsiteX11" fmla="*/ 660600 w 5041900"/>
              <a:gd name="connsiteY11" fmla="*/ 0 h 4670425"/>
              <a:gd name="connsiteX12" fmla="*/ 754838 w 5041900"/>
              <a:gd name="connsiteY12" fmla="*/ 0 h 4670425"/>
              <a:gd name="connsiteX13" fmla="*/ 857638 w 5041900"/>
              <a:gd name="connsiteY13" fmla="*/ 0 h 4670425"/>
              <a:gd name="connsiteX14" fmla="*/ 969371 w 5041900"/>
              <a:gd name="connsiteY14" fmla="*/ 0 h 4670425"/>
              <a:gd name="connsiteX15" fmla="*/ 1090411 w 5041900"/>
              <a:gd name="connsiteY15" fmla="*/ 0 h 4670425"/>
              <a:gd name="connsiteX16" fmla="*/ 1221129 w 5041900"/>
              <a:gd name="connsiteY16" fmla="*/ 0 h 4670425"/>
              <a:gd name="connsiteX17" fmla="*/ 1361897 w 5041900"/>
              <a:gd name="connsiteY17" fmla="*/ 0 h 4670425"/>
              <a:gd name="connsiteX18" fmla="*/ 1513088 w 5041900"/>
              <a:gd name="connsiteY18" fmla="*/ 0 h 4670425"/>
              <a:gd name="connsiteX19" fmla="*/ 1675074 w 5041900"/>
              <a:gd name="connsiteY19" fmla="*/ 0 h 4670425"/>
              <a:gd name="connsiteX20" fmla="*/ 1848227 w 5041900"/>
              <a:gd name="connsiteY20" fmla="*/ 0 h 4670425"/>
              <a:gd name="connsiteX21" fmla="*/ 2032919 w 5041900"/>
              <a:gd name="connsiteY21" fmla="*/ 0 h 4670425"/>
              <a:gd name="connsiteX22" fmla="*/ 5041900 w 5041900"/>
              <a:gd name="connsiteY22" fmla="*/ 0 h 4670425"/>
              <a:gd name="connsiteX23" fmla="*/ 5041900 w 5041900"/>
              <a:gd name="connsiteY23" fmla="*/ 4670425 h 4670425"/>
              <a:gd name="connsiteX24" fmla="*/ 4839918 w 5041900"/>
              <a:gd name="connsiteY24" fmla="*/ 4579854 h 4670425"/>
              <a:gd name="connsiteX25" fmla="*/ 4669598 w 5041900"/>
              <a:gd name="connsiteY25" fmla="*/ 4456546 h 4670425"/>
              <a:gd name="connsiteX26" fmla="*/ 4617192 w 5041900"/>
              <a:gd name="connsiteY26" fmla="*/ 4408532 h 4670425"/>
              <a:gd name="connsiteX27" fmla="*/ 4445781 w 5041900"/>
              <a:gd name="connsiteY27" fmla="*/ 4185923 h 4670425"/>
              <a:gd name="connsiteX28" fmla="*/ 4338786 w 5041900"/>
              <a:gd name="connsiteY28" fmla="*/ 3926213 h 4670425"/>
              <a:gd name="connsiteX29" fmla="*/ 4301665 w 5041900"/>
              <a:gd name="connsiteY29" fmla="*/ 3647951 h 4670425"/>
              <a:gd name="connsiteX30" fmla="*/ 4301665 w 5041900"/>
              <a:gd name="connsiteY30" fmla="*/ 3646860 h 4670425"/>
              <a:gd name="connsiteX31" fmla="*/ 4264544 w 5041900"/>
              <a:gd name="connsiteY31" fmla="*/ 3368599 h 4670425"/>
              <a:gd name="connsiteX32" fmla="*/ 4157548 w 5041900"/>
              <a:gd name="connsiteY32" fmla="*/ 3108888 h 4670425"/>
              <a:gd name="connsiteX33" fmla="*/ 3986136 w 5041900"/>
              <a:gd name="connsiteY33" fmla="*/ 2887370 h 4670425"/>
              <a:gd name="connsiteX34" fmla="*/ 3763411 w 5041900"/>
              <a:gd name="connsiteY34" fmla="*/ 2716049 h 4670425"/>
              <a:gd name="connsiteX35" fmla="*/ 3504656 w 5041900"/>
              <a:gd name="connsiteY35" fmla="*/ 2608018 h 4670425"/>
              <a:gd name="connsiteX36" fmla="*/ 3226248 w 5041900"/>
              <a:gd name="connsiteY36" fmla="*/ 2572008 h 4670425"/>
              <a:gd name="connsiteX37" fmla="*/ 2947841 w 5041900"/>
              <a:gd name="connsiteY37" fmla="*/ 2609109 h 4670425"/>
              <a:gd name="connsiteX38" fmla="*/ 2687994 w 5041900"/>
              <a:gd name="connsiteY38" fmla="*/ 2714957 h 4670425"/>
              <a:gd name="connsiteX39" fmla="*/ 2428148 w 5041900"/>
              <a:gd name="connsiteY39" fmla="*/ 2821897 h 4670425"/>
              <a:gd name="connsiteX40" fmla="*/ 2149741 w 5041900"/>
              <a:gd name="connsiteY40" fmla="*/ 2858999 h 4670425"/>
              <a:gd name="connsiteX41" fmla="*/ 1870242 w 5041900"/>
              <a:gd name="connsiteY41" fmla="*/ 2822988 h 4670425"/>
              <a:gd name="connsiteX42" fmla="*/ 1611487 w 5041900"/>
              <a:gd name="connsiteY42" fmla="*/ 2714957 h 4670425"/>
              <a:gd name="connsiteX43" fmla="*/ 1441167 w 5041900"/>
              <a:gd name="connsiteY43" fmla="*/ 2592741 h 4670425"/>
              <a:gd name="connsiteX44" fmla="*/ 1388761 w 5041900"/>
              <a:gd name="connsiteY44" fmla="*/ 2543636 h 4670425"/>
              <a:gd name="connsiteX45" fmla="*/ 1217349 w 5041900"/>
              <a:gd name="connsiteY45" fmla="*/ 2322118 h 4670425"/>
              <a:gd name="connsiteX46" fmla="*/ 1151842 w 5041900"/>
              <a:gd name="connsiteY46" fmla="*/ 2209722 h 4670425"/>
              <a:gd name="connsiteX47" fmla="*/ 1045938 w 5041900"/>
              <a:gd name="connsiteY47" fmla="*/ 2025306 h 4670425"/>
              <a:gd name="connsiteX48" fmla="*/ 140841 w 5041900"/>
              <a:gd name="connsiteY48" fmla="*/ 458313 h 4670425"/>
              <a:gd name="connsiteX49" fmla="*/ 33846 w 5041900"/>
              <a:gd name="connsiteY49" fmla="*/ 198602 h 4670425"/>
              <a:gd name="connsiteX50" fmla="*/ 0 w 5041900"/>
              <a:gd name="connsiteY50" fmla="*/ 0 h 467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5041900" h="4670425">
                <a:moveTo>
                  <a:pt x="0" y="0"/>
                </a:moveTo>
                <a:lnTo>
                  <a:pt x="3971" y="0"/>
                </a:lnTo>
                <a:lnTo>
                  <a:pt x="13401" y="0"/>
                </a:lnTo>
                <a:lnTo>
                  <a:pt x="31765" y="0"/>
                </a:lnTo>
                <a:lnTo>
                  <a:pt x="62040" y="0"/>
                </a:lnTo>
                <a:lnTo>
                  <a:pt x="107205" y="0"/>
                </a:lnTo>
                <a:lnTo>
                  <a:pt x="170237" y="0"/>
                </a:lnTo>
                <a:lnTo>
                  <a:pt x="254115" y="0"/>
                </a:lnTo>
                <a:lnTo>
                  <a:pt x="361816" y="0"/>
                </a:lnTo>
                <a:lnTo>
                  <a:pt x="496318" y="0"/>
                </a:lnTo>
                <a:lnTo>
                  <a:pt x="574550" y="0"/>
                </a:lnTo>
                <a:lnTo>
                  <a:pt x="660600" y="0"/>
                </a:lnTo>
                <a:lnTo>
                  <a:pt x="754838" y="0"/>
                </a:lnTo>
                <a:lnTo>
                  <a:pt x="857638" y="0"/>
                </a:lnTo>
                <a:lnTo>
                  <a:pt x="969371" y="0"/>
                </a:lnTo>
                <a:lnTo>
                  <a:pt x="1090411" y="0"/>
                </a:lnTo>
                <a:lnTo>
                  <a:pt x="1221129" y="0"/>
                </a:lnTo>
                <a:lnTo>
                  <a:pt x="1361897" y="0"/>
                </a:lnTo>
                <a:lnTo>
                  <a:pt x="1513088" y="0"/>
                </a:lnTo>
                <a:lnTo>
                  <a:pt x="1675074" y="0"/>
                </a:lnTo>
                <a:lnTo>
                  <a:pt x="1848227" y="0"/>
                </a:lnTo>
                <a:lnTo>
                  <a:pt x="2032919" y="0"/>
                </a:lnTo>
                <a:lnTo>
                  <a:pt x="5041900" y="0"/>
                </a:lnTo>
                <a:cubicBezTo>
                  <a:pt x="5041900" y="0"/>
                  <a:pt x="5041900" y="0"/>
                  <a:pt x="5041900" y="4670425"/>
                </a:cubicBezTo>
                <a:cubicBezTo>
                  <a:pt x="4972025" y="4647510"/>
                  <a:pt x="4904334" y="4616955"/>
                  <a:pt x="4839918" y="4579854"/>
                </a:cubicBezTo>
                <a:cubicBezTo>
                  <a:pt x="4779870" y="4544935"/>
                  <a:pt x="4722004" y="4503468"/>
                  <a:pt x="4669598" y="4456546"/>
                </a:cubicBezTo>
                <a:cubicBezTo>
                  <a:pt x="4651038" y="4441269"/>
                  <a:pt x="4634661" y="4424901"/>
                  <a:pt x="4617192" y="4408532"/>
                </a:cubicBezTo>
                <a:cubicBezTo>
                  <a:pt x="4552777" y="4343059"/>
                  <a:pt x="4493820" y="4269947"/>
                  <a:pt x="4445781" y="4185923"/>
                </a:cubicBezTo>
                <a:cubicBezTo>
                  <a:pt x="4397742" y="4102990"/>
                  <a:pt x="4362805" y="4015693"/>
                  <a:pt x="4338786" y="3926213"/>
                </a:cubicBezTo>
                <a:cubicBezTo>
                  <a:pt x="4314766" y="3834550"/>
                  <a:pt x="4301665" y="3741796"/>
                  <a:pt x="4301665" y="3647951"/>
                </a:cubicBezTo>
                <a:cubicBezTo>
                  <a:pt x="4301665" y="3647951"/>
                  <a:pt x="4301665" y="3647951"/>
                  <a:pt x="4301665" y="3646860"/>
                </a:cubicBezTo>
                <a:cubicBezTo>
                  <a:pt x="4301665" y="3554106"/>
                  <a:pt x="4289655" y="3460261"/>
                  <a:pt x="4264544" y="3368599"/>
                </a:cubicBezTo>
                <a:cubicBezTo>
                  <a:pt x="4240524" y="3280210"/>
                  <a:pt x="4206679" y="3192912"/>
                  <a:pt x="4157548" y="3108888"/>
                </a:cubicBezTo>
                <a:cubicBezTo>
                  <a:pt x="4109509" y="3025955"/>
                  <a:pt x="4051644" y="2951752"/>
                  <a:pt x="3986136" y="2887370"/>
                </a:cubicBezTo>
                <a:cubicBezTo>
                  <a:pt x="3918445" y="2819715"/>
                  <a:pt x="3844203" y="2762971"/>
                  <a:pt x="3763411" y="2716049"/>
                </a:cubicBezTo>
                <a:cubicBezTo>
                  <a:pt x="3681526" y="2669126"/>
                  <a:pt x="3595274" y="2632025"/>
                  <a:pt x="3504656" y="2608018"/>
                </a:cubicBezTo>
                <a:cubicBezTo>
                  <a:pt x="3414037" y="2584011"/>
                  <a:pt x="3320143" y="2572008"/>
                  <a:pt x="3226248" y="2572008"/>
                </a:cubicBezTo>
                <a:cubicBezTo>
                  <a:pt x="3132354" y="2572008"/>
                  <a:pt x="3039552" y="2584011"/>
                  <a:pt x="2947841" y="2609109"/>
                </a:cubicBezTo>
                <a:cubicBezTo>
                  <a:pt x="2858314" y="2633116"/>
                  <a:pt x="2770971" y="2666944"/>
                  <a:pt x="2687994" y="2714957"/>
                </a:cubicBezTo>
                <a:cubicBezTo>
                  <a:pt x="2603926" y="2764062"/>
                  <a:pt x="2516583" y="2797890"/>
                  <a:pt x="2428148" y="2821897"/>
                </a:cubicBezTo>
                <a:cubicBezTo>
                  <a:pt x="2335345" y="2846995"/>
                  <a:pt x="2242543" y="2858999"/>
                  <a:pt x="2149741" y="2858999"/>
                </a:cubicBezTo>
                <a:cubicBezTo>
                  <a:pt x="2054755" y="2858999"/>
                  <a:pt x="1960860" y="2846995"/>
                  <a:pt x="1870242" y="2822988"/>
                </a:cubicBezTo>
                <a:cubicBezTo>
                  <a:pt x="1780715" y="2798981"/>
                  <a:pt x="1693371" y="2761880"/>
                  <a:pt x="1611487" y="2714957"/>
                </a:cubicBezTo>
                <a:cubicBezTo>
                  <a:pt x="1551438" y="2680038"/>
                  <a:pt x="1493573" y="2638572"/>
                  <a:pt x="1441167" y="2592741"/>
                </a:cubicBezTo>
                <a:cubicBezTo>
                  <a:pt x="1422606" y="2576372"/>
                  <a:pt x="1406230" y="2560004"/>
                  <a:pt x="1388761" y="2543636"/>
                </a:cubicBezTo>
                <a:cubicBezTo>
                  <a:pt x="1324345" y="2478163"/>
                  <a:pt x="1265388" y="2405051"/>
                  <a:pt x="1217349" y="2322118"/>
                </a:cubicBezTo>
                <a:cubicBezTo>
                  <a:pt x="1217349" y="2322118"/>
                  <a:pt x="1217349" y="2322118"/>
                  <a:pt x="1151842" y="2209722"/>
                </a:cubicBezTo>
                <a:cubicBezTo>
                  <a:pt x="1151842" y="2209722"/>
                  <a:pt x="1151842" y="2209722"/>
                  <a:pt x="1045938" y="2025306"/>
                </a:cubicBezTo>
                <a:cubicBezTo>
                  <a:pt x="1045938" y="2025306"/>
                  <a:pt x="1045938" y="2025306"/>
                  <a:pt x="140841" y="458313"/>
                </a:cubicBezTo>
                <a:cubicBezTo>
                  <a:pt x="92803" y="374289"/>
                  <a:pt x="57865" y="286991"/>
                  <a:pt x="33846" y="198602"/>
                </a:cubicBezTo>
                <a:cubicBezTo>
                  <a:pt x="16377" y="133129"/>
                  <a:pt x="5459" y="66565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87213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34B5F6E-6317-9435-46BD-62DB6C82F4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712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6D5242C-C72E-8261-18FB-71780E1AA0D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038111" y="-1"/>
            <a:ext cx="6153889" cy="6858000"/>
          </a:xfrm>
          <a:custGeom>
            <a:avLst/>
            <a:gdLst>
              <a:gd name="connsiteX0" fmla="*/ 1923952 w 4481513"/>
              <a:gd name="connsiteY0" fmla="*/ 0 h 4994275"/>
              <a:gd name="connsiteX1" fmla="*/ 4481513 w 4481513"/>
              <a:gd name="connsiteY1" fmla="*/ 0 h 4994275"/>
              <a:gd name="connsiteX2" fmla="*/ 4481513 w 4481513"/>
              <a:gd name="connsiteY2" fmla="*/ 2295979 h 4994275"/>
              <a:gd name="connsiteX3" fmla="*/ 4480357 w 4481513"/>
              <a:gd name="connsiteY3" fmla="*/ 2297135 h 4994275"/>
              <a:gd name="connsiteX4" fmla="*/ 4478045 w 4481513"/>
              <a:gd name="connsiteY4" fmla="*/ 2299448 h 4994275"/>
              <a:gd name="connsiteX5" fmla="*/ 4459545 w 4481513"/>
              <a:gd name="connsiteY5" fmla="*/ 2313321 h 4994275"/>
              <a:gd name="connsiteX6" fmla="*/ 4454920 w 4481513"/>
              <a:gd name="connsiteY6" fmla="*/ 2316789 h 4994275"/>
              <a:gd name="connsiteX7" fmla="*/ 4435264 w 4481513"/>
              <a:gd name="connsiteY7" fmla="*/ 2330662 h 4994275"/>
              <a:gd name="connsiteX8" fmla="*/ 4430640 w 4481513"/>
              <a:gd name="connsiteY8" fmla="*/ 2334130 h 4994275"/>
              <a:gd name="connsiteX9" fmla="*/ 4412140 w 4481513"/>
              <a:gd name="connsiteY9" fmla="*/ 2346847 h 4994275"/>
              <a:gd name="connsiteX10" fmla="*/ 4409828 w 4481513"/>
              <a:gd name="connsiteY10" fmla="*/ 2349159 h 4994275"/>
              <a:gd name="connsiteX11" fmla="*/ 4387859 w 4481513"/>
              <a:gd name="connsiteY11" fmla="*/ 2363032 h 4994275"/>
              <a:gd name="connsiteX12" fmla="*/ 4383234 w 4481513"/>
              <a:gd name="connsiteY12" fmla="*/ 2365344 h 4994275"/>
              <a:gd name="connsiteX13" fmla="*/ 4361266 w 4481513"/>
              <a:gd name="connsiteY13" fmla="*/ 2379217 h 4994275"/>
              <a:gd name="connsiteX14" fmla="*/ 4149678 w 4481513"/>
              <a:gd name="connsiteY14" fmla="*/ 2465923 h 4994275"/>
              <a:gd name="connsiteX15" fmla="*/ 3921902 w 4481513"/>
              <a:gd name="connsiteY15" fmla="*/ 2497138 h 4994275"/>
              <a:gd name="connsiteX16" fmla="*/ 3743844 w 4481513"/>
              <a:gd name="connsiteY16" fmla="*/ 2515635 h 4994275"/>
              <a:gd name="connsiteX17" fmla="*/ 3694127 w 4481513"/>
              <a:gd name="connsiteY17" fmla="*/ 2528352 h 4994275"/>
              <a:gd name="connsiteX18" fmla="*/ 3622441 w 4481513"/>
              <a:gd name="connsiteY18" fmla="*/ 2550317 h 4994275"/>
              <a:gd name="connsiteX19" fmla="*/ 3482538 w 4481513"/>
              <a:gd name="connsiteY19" fmla="*/ 2615058 h 4994275"/>
              <a:gd name="connsiteX20" fmla="*/ 3369228 w 4481513"/>
              <a:gd name="connsiteY20" fmla="*/ 2693672 h 4994275"/>
              <a:gd name="connsiteX21" fmla="*/ 3299855 w 4481513"/>
              <a:gd name="connsiteY21" fmla="*/ 2754944 h 4994275"/>
              <a:gd name="connsiteX22" fmla="*/ 3236263 w 4481513"/>
              <a:gd name="connsiteY22" fmla="*/ 2826621 h 4994275"/>
              <a:gd name="connsiteX23" fmla="*/ 3161109 w 4481513"/>
              <a:gd name="connsiteY23" fmla="*/ 2936449 h 4994275"/>
              <a:gd name="connsiteX24" fmla="*/ 3099829 w 4481513"/>
              <a:gd name="connsiteY24" fmla="*/ 3065930 h 4994275"/>
              <a:gd name="connsiteX25" fmla="*/ 3097516 w 4481513"/>
              <a:gd name="connsiteY25" fmla="*/ 3071710 h 4994275"/>
              <a:gd name="connsiteX26" fmla="*/ 3087110 w 4481513"/>
              <a:gd name="connsiteY26" fmla="*/ 3102925 h 4994275"/>
              <a:gd name="connsiteX27" fmla="*/ 3073236 w 4481513"/>
              <a:gd name="connsiteY27" fmla="*/ 3149168 h 4994275"/>
              <a:gd name="connsiteX28" fmla="*/ 3043174 w 4481513"/>
              <a:gd name="connsiteY28" fmla="*/ 3375760 h 4994275"/>
              <a:gd name="connsiteX29" fmla="*/ 3073236 w 4481513"/>
              <a:gd name="connsiteY29" fmla="*/ 3603508 h 4994275"/>
              <a:gd name="connsiteX30" fmla="*/ 3098673 w 4481513"/>
              <a:gd name="connsiteY30" fmla="*/ 3680966 h 4994275"/>
              <a:gd name="connsiteX31" fmla="*/ 3155328 w 4481513"/>
              <a:gd name="connsiteY31" fmla="*/ 3805823 h 4994275"/>
              <a:gd name="connsiteX32" fmla="*/ 3161109 w 4481513"/>
              <a:gd name="connsiteY32" fmla="*/ 3815071 h 4994275"/>
              <a:gd name="connsiteX33" fmla="*/ 3161109 w 4481513"/>
              <a:gd name="connsiteY33" fmla="*/ 3816227 h 4994275"/>
              <a:gd name="connsiteX34" fmla="*/ 3248981 w 4481513"/>
              <a:gd name="connsiteY34" fmla="*/ 4028947 h 4994275"/>
              <a:gd name="connsiteX35" fmla="*/ 3279043 w 4481513"/>
              <a:gd name="connsiteY35" fmla="*/ 4255539 h 4994275"/>
              <a:gd name="connsiteX36" fmla="*/ 3255919 w 4481513"/>
              <a:gd name="connsiteY36" fmla="*/ 4454385 h 4994275"/>
              <a:gd name="connsiteX37" fmla="*/ 3248981 w 4481513"/>
              <a:gd name="connsiteY37" fmla="*/ 4483287 h 4994275"/>
              <a:gd name="connsiteX38" fmla="*/ 3244357 w 4481513"/>
              <a:gd name="connsiteY38" fmla="*/ 4498316 h 4994275"/>
              <a:gd name="connsiteX39" fmla="*/ 3231638 w 4481513"/>
              <a:gd name="connsiteY39" fmla="*/ 4538779 h 4994275"/>
              <a:gd name="connsiteX40" fmla="*/ 3198108 w 4481513"/>
              <a:gd name="connsiteY40" fmla="*/ 4624329 h 4994275"/>
              <a:gd name="connsiteX41" fmla="*/ 3174983 w 4481513"/>
              <a:gd name="connsiteY41" fmla="*/ 4669416 h 4994275"/>
              <a:gd name="connsiteX42" fmla="*/ 3161109 w 4481513"/>
              <a:gd name="connsiteY42" fmla="*/ 4694850 h 4994275"/>
              <a:gd name="connsiteX43" fmla="*/ 3022362 w 4481513"/>
              <a:gd name="connsiteY43" fmla="*/ 4877511 h 4994275"/>
              <a:gd name="connsiteX44" fmla="*/ 3002706 w 4481513"/>
              <a:gd name="connsiteY44" fmla="*/ 4896008 h 4994275"/>
              <a:gd name="connsiteX45" fmla="*/ 2996925 w 4481513"/>
              <a:gd name="connsiteY45" fmla="*/ 4900633 h 4994275"/>
              <a:gd name="connsiteX46" fmla="*/ 2983051 w 4481513"/>
              <a:gd name="connsiteY46" fmla="*/ 4913349 h 4994275"/>
              <a:gd name="connsiteX47" fmla="*/ 2976113 w 4481513"/>
              <a:gd name="connsiteY47" fmla="*/ 4919130 h 4994275"/>
              <a:gd name="connsiteX48" fmla="*/ 2962239 w 4481513"/>
              <a:gd name="connsiteY48" fmla="*/ 4930691 h 4994275"/>
              <a:gd name="connsiteX49" fmla="*/ 2955301 w 4481513"/>
              <a:gd name="connsiteY49" fmla="*/ 4936471 h 4994275"/>
              <a:gd name="connsiteX50" fmla="*/ 2939114 w 4481513"/>
              <a:gd name="connsiteY50" fmla="*/ 4949188 h 4994275"/>
              <a:gd name="connsiteX51" fmla="*/ 2934489 w 4481513"/>
              <a:gd name="connsiteY51" fmla="*/ 4952656 h 4994275"/>
              <a:gd name="connsiteX52" fmla="*/ 2913677 w 4481513"/>
              <a:gd name="connsiteY52" fmla="*/ 4968841 h 4994275"/>
              <a:gd name="connsiteX53" fmla="*/ 2907896 w 4481513"/>
              <a:gd name="connsiteY53" fmla="*/ 4972310 h 4994275"/>
              <a:gd name="connsiteX54" fmla="*/ 2891709 w 4481513"/>
              <a:gd name="connsiteY54" fmla="*/ 4983871 h 4994275"/>
              <a:gd name="connsiteX55" fmla="*/ 2883616 w 4481513"/>
              <a:gd name="connsiteY55" fmla="*/ 4989651 h 4994275"/>
              <a:gd name="connsiteX56" fmla="*/ 2875522 w 4481513"/>
              <a:gd name="connsiteY56" fmla="*/ 4994275 h 4994275"/>
              <a:gd name="connsiteX57" fmla="*/ 1922796 w 4481513"/>
              <a:gd name="connsiteY57" fmla="*/ 4994275 h 4994275"/>
              <a:gd name="connsiteX58" fmla="*/ 957351 w 4481513"/>
              <a:gd name="connsiteY58" fmla="*/ 4435888 h 4994275"/>
              <a:gd name="connsiteX59" fmla="*/ 440520 w 4481513"/>
              <a:gd name="connsiteY59" fmla="*/ 4136462 h 4994275"/>
              <a:gd name="connsiteX60" fmla="*/ 439364 w 4481513"/>
              <a:gd name="connsiteY60" fmla="*/ 4136462 h 4994275"/>
              <a:gd name="connsiteX61" fmla="*/ 343398 w 4481513"/>
              <a:gd name="connsiteY61" fmla="*/ 4072878 h 4994275"/>
              <a:gd name="connsiteX62" fmla="*/ 257837 w 4481513"/>
              <a:gd name="connsiteY62" fmla="*/ 3997732 h 4994275"/>
              <a:gd name="connsiteX63" fmla="*/ 182683 w 4481513"/>
              <a:gd name="connsiteY63" fmla="*/ 3912182 h 4994275"/>
              <a:gd name="connsiteX64" fmla="*/ 120247 w 4481513"/>
              <a:gd name="connsiteY64" fmla="*/ 3819696 h 4994275"/>
              <a:gd name="connsiteX65" fmla="*/ 117935 w 4481513"/>
              <a:gd name="connsiteY65" fmla="*/ 3815071 h 4994275"/>
              <a:gd name="connsiteX66" fmla="*/ 114466 w 4481513"/>
              <a:gd name="connsiteY66" fmla="*/ 3806979 h 4994275"/>
              <a:gd name="connsiteX67" fmla="*/ 53186 w 4481513"/>
              <a:gd name="connsiteY67" fmla="*/ 3675185 h 4994275"/>
              <a:gd name="connsiteX68" fmla="*/ 31218 w 4481513"/>
              <a:gd name="connsiteY68" fmla="*/ 3603508 h 4994275"/>
              <a:gd name="connsiteX69" fmla="*/ 0 w 4481513"/>
              <a:gd name="connsiteY69" fmla="*/ 3375760 h 4994275"/>
              <a:gd name="connsiteX70" fmla="*/ 31218 w 4481513"/>
              <a:gd name="connsiteY70" fmla="*/ 3149168 h 4994275"/>
              <a:gd name="connsiteX71" fmla="*/ 47405 w 4481513"/>
              <a:gd name="connsiteY71" fmla="*/ 3093676 h 4994275"/>
              <a:gd name="connsiteX72" fmla="*/ 94810 w 4481513"/>
              <a:gd name="connsiteY72" fmla="*/ 2980380 h 4994275"/>
              <a:gd name="connsiteX73" fmla="*/ 117935 w 4481513"/>
              <a:gd name="connsiteY73" fmla="*/ 2936449 h 4994275"/>
              <a:gd name="connsiteX74" fmla="*/ 119091 w 4481513"/>
              <a:gd name="connsiteY74" fmla="*/ 2936449 h 4994275"/>
              <a:gd name="connsiteX75" fmla="*/ 117935 w 4481513"/>
              <a:gd name="connsiteY75" fmla="*/ 2935293 h 4994275"/>
              <a:gd name="connsiteX76" fmla="*/ 124872 w 4481513"/>
              <a:gd name="connsiteY76" fmla="*/ 2924888 h 4994275"/>
              <a:gd name="connsiteX77" fmla="*/ 178058 w 4481513"/>
              <a:gd name="connsiteY77" fmla="*/ 2809280 h 4994275"/>
              <a:gd name="connsiteX78" fmla="*/ 205807 w 4481513"/>
              <a:gd name="connsiteY78" fmla="*/ 2723730 h 4994275"/>
              <a:gd name="connsiteX79" fmla="*/ 218526 w 4481513"/>
              <a:gd name="connsiteY79" fmla="*/ 2671706 h 4994275"/>
              <a:gd name="connsiteX80" fmla="*/ 237025 w 4481513"/>
              <a:gd name="connsiteY80" fmla="*/ 2495982 h 4994275"/>
              <a:gd name="connsiteX81" fmla="*/ 216213 w 4481513"/>
              <a:gd name="connsiteY81" fmla="*/ 2313321 h 4994275"/>
              <a:gd name="connsiteX82" fmla="*/ 205807 w 4481513"/>
              <a:gd name="connsiteY82" fmla="*/ 2269389 h 4994275"/>
              <a:gd name="connsiteX83" fmla="*/ 197714 w 4481513"/>
              <a:gd name="connsiteY83" fmla="*/ 2240487 h 4994275"/>
              <a:gd name="connsiteX84" fmla="*/ 117935 w 4481513"/>
              <a:gd name="connsiteY84" fmla="*/ 2057826 h 4994275"/>
              <a:gd name="connsiteX85" fmla="*/ 31218 w 4481513"/>
              <a:gd name="connsiteY85" fmla="*/ 1845107 h 4994275"/>
              <a:gd name="connsiteX86" fmla="*/ 0 w 4481513"/>
              <a:gd name="connsiteY86" fmla="*/ 1618515 h 4994275"/>
              <a:gd name="connsiteX87" fmla="*/ 31218 w 4481513"/>
              <a:gd name="connsiteY87" fmla="*/ 1390767 h 4994275"/>
              <a:gd name="connsiteX88" fmla="*/ 47405 w 4481513"/>
              <a:gd name="connsiteY88" fmla="*/ 1335275 h 4994275"/>
              <a:gd name="connsiteX89" fmla="*/ 117935 w 4481513"/>
              <a:gd name="connsiteY89" fmla="*/ 1179204 h 4994275"/>
              <a:gd name="connsiteX90" fmla="*/ 128341 w 4481513"/>
              <a:gd name="connsiteY90" fmla="*/ 1163019 h 4994275"/>
              <a:gd name="connsiteX91" fmla="*/ 205807 w 4481513"/>
              <a:gd name="connsiteY91" fmla="*/ 1053191 h 4994275"/>
              <a:gd name="connsiteX92" fmla="*/ 257837 w 4481513"/>
              <a:gd name="connsiteY92" fmla="*/ 996543 h 4994275"/>
              <a:gd name="connsiteX93" fmla="*/ 439364 w 4481513"/>
              <a:gd name="connsiteY93" fmla="*/ 857813 h 4994275"/>
              <a:gd name="connsiteX94" fmla="*/ 1923952 w 4481513"/>
              <a:gd name="connsiteY94" fmla="*/ 0 h 499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4481513" h="4994275">
                <a:moveTo>
                  <a:pt x="1923952" y="0"/>
                </a:moveTo>
                <a:cubicBezTo>
                  <a:pt x="1923952" y="0"/>
                  <a:pt x="1923952" y="0"/>
                  <a:pt x="4481513" y="0"/>
                </a:cubicBezTo>
                <a:cubicBezTo>
                  <a:pt x="4481513" y="0"/>
                  <a:pt x="4481513" y="0"/>
                  <a:pt x="4481513" y="2295979"/>
                </a:cubicBezTo>
                <a:cubicBezTo>
                  <a:pt x="4481513" y="2295979"/>
                  <a:pt x="4480357" y="2295979"/>
                  <a:pt x="4480357" y="2297135"/>
                </a:cubicBezTo>
                <a:cubicBezTo>
                  <a:pt x="4479201" y="2297135"/>
                  <a:pt x="4478045" y="2298291"/>
                  <a:pt x="4478045" y="2299448"/>
                </a:cubicBezTo>
                <a:cubicBezTo>
                  <a:pt x="4471107" y="2304072"/>
                  <a:pt x="4465326" y="2308696"/>
                  <a:pt x="4459545" y="2313321"/>
                </a:cubicBezTo>
                <a:cubicBezTo>
                  <a:pt x="4458389" y="2314477"/>
                  <a:pt x="4457233" y="2315633"/>
                  <a:pt x="4454920" y="2316789"/>
                </a:cubicBezTo>
                <a:cubicBezTo>
                  <a:pt x="4449139" y="2321413"/>
                  <a:pt x="4442202" y="2326037"/>
                  <a:pt x="4435264" y="2330662"/>
                </a:cubicBezTo>
                <a:cubicBezTo>
                  <a:pt x="4434108" y="2331818"/>
                  <a:pt x="4432952" y="2332974"/>
                  <a:pt x="4430640" y="2334130"/>
                </a:cubicBezTo>
                <a:cubicBezTo>
                  <a:pt x="4424858" y="2338754"/>
                  <a:pt x="4419077" y="2342223"/>
                  <a:pt x="4412140" y="2346847"/>
                </a:cubicBezTo>
                <a:cubicBezTo>
                  <a:pt x="4410984" y="2348003"/>
                  <a:pt x="4409828" y="2348003"/>
                  <a:pt x="4409828" y="2349159"/>
                </a:cubicBezTo>
                <a:cubicBezTo>
                  <a:pt x="4401734" y="2353783"/>
                  <a:pt x="4394797" y="2358408"/>
                  <a:pt x="4387859" y="2363032"/>
                </a:cubicBezTo>
                <a:cubicBezTo>
                  <a:pt x="4386703" y="2363032"/>
                  <a:pt x="4384391" y="2364188"/>
                  <a:pt x="4383234" y="2365344"/>
                </a:cubicBezTo>
                <a:cubicBezTo>
                  <a:pt x="4376297" y="2369969"/>
                  <a:pt x="4368204" y="2374593"/>
                  <a:pt x="4361266" y="2379217"/>
                </a:cubicBezTo>
                <a:cubicBezTo>
                  <a:pt x="4295362" y="2417368"/>
                  <a:pt x="4224832" y="2446270"/>
                  <a:pt x="4149678" y="2465923"/>
                </a:cubicBezTo>
                <a:cubicBezTo>
                  <a:pt x="4076836" y="2485577"/>
                  <a:pt x="4000525" y="2497138"/>
                  <a:pt x="3921902" y="2497138"/>
                </a:cubicBezTo>
                <a:cubicBezTo>
                  <a:pt x="3860622" y="2497138"/>
                  <a:pt x="3801655" y="2504074"/>
                  <a:pt x="3743844" y="2515635"/>
                </a:cubicBezTo>
                <a:cubicBezTo>
                  <a:pt x="3727657" y="2519103"/>
                  <a:pt x="3710314" y="2523728"/>
                  <a:pt x="3694127" y="2528352"/>
                </a:cubicBezTo>
                <a:cubicBezTo>
                  <a:pt x="3669846" y="2534132"/>
                  <a:pt x="3645565" y="2542225"/>
                  <a:pt x="3622441" y="2550317"/>
                </a:cubicBezTo>
                <a:cubicBezTo>
                  <a:pt x="3573880" y="2568815"/>
                  <a:pt x="3526474" y="2589624"/>
                  <a:pt x="3482538" y="2615058"/>
                </a:cubicBezTo>
                <a:cubicBezTo>
                  <a:pt x="3443227" y="2638180"/>
                  <a:pt x="3405071" y="2664770"/>
                  <a:pt x="3369228" y="2693672"/>
                </a:cubicBezTo>
                <a:cubicBezTo>
                  <a:pt x="3344948" y="2712169"/>
                  <a:pt x="3321823" y="2732978"/>
                  <a:pt x="3299855" y="2754944"/>
                </a:cubicBezTo>
                <a:cubicBezTo>
                  <a:pt x="3277887" y="2776910"/>
                  <a:pt x="3255919" y="2801187"/>
                  <a:pt x="3236263" y="2826621"/>
                </a:cubicBezTo>
                <a:cubicBezTo>
                  <a:pt x="3208514" y="2861304"/>
                  <a:pt x="3183077" y="2898298"/>
                  <a:pt x="3161109" y="2936449"/>
                </a:cubicBezTo>
                <a:cubicBezTo>
                  <a:pt x="3137984" y="2978068"/>
                  <a:pt x="3117172" y="3020843"/>
                  <a:pt x="3099829" y="3065930"/>
                </a:cubicBezTo>
                <a:cubicBezTo>
                  <a:pt x="3099829" y="3067086"/>
                  <a:pt x="3098673" y="3069398"/>
                  <a:pt x="3097516" y="3071710"/>
                </a:cubicBezTo>
                <a:cubicBezTo>
                  <a:pt x="3094048" y="3082115"/>
                  <a:pt x="3090579" y="3092520"/>
                  <a:pt x="3087110" y="3102925"/>
                </a:cubicBezTo>
                <a:cubicBezTo>
                  <a:pt x="3082486" y="3117954"/>
                  <a:pt x="3077861" y="3132983"/>
                  <a:pt x="3073236" y="3149168"/>
                </a:cubicBezTo>
                <a:cubicBezTo>
                  <a:pt x="3053580" y="3222001"/>
                  <a:pt x="3043174" y="3297146"/>
                  <a:pt x="3043174" y="3375760"/>
                </a:cubicBezTo>
                <a:cubicBezTo>
                  <a:pt x="3043174" y="3454374"/>
                  <a:pt x="3053580" y="3530675"/>
                  <a:pt x="3073236" y="3603508"/>
                </a:cubicBezTo>
                <a:cubicBezTo>
                  <a:pt x="3080173" y="3630098"/>
                  <a:pt x="3089423" y="3655532"/>
                  <a:pt x="3098673" y="3680966"/>
                </a:cubicBezTo>
                <a:cubicBezTo>
                  <a:pt x="3113704" y="3723741"/>
                  <a:pt x="3133359" y="3765360"/>
                  <a:pt x="3155328" y="3805823"/>
                </a:cubicBezTo>
                <a:cubicBezTo>
                  <a:pt x="3157640" y="3808135"/>
                  <a:pt x="3158796" y="3811603"/>
                  <a:pt x="3161109" y="3815071"/>
                </a:cubicBezTo>
                <a:cubicBezTo>
                  <a:pt x="3161109" y="3815071"/>
                  <a:pt x="3161109" y="3815071"/>
                  <a:pt x="3161109" y="3816227"/>
                </a:cubicBezTo>
                <a:cubicBezTo>
                  <a:pt x="3199264" y="3882124"/>
                  <a:pt x="3228169" y="3953801"/>
                  <a:pt x="3248981" y="4028947"/>
                </a:cubicBezTo>
                <a:cubicBezTo>
                  <a:pt x="3268637" y="4100624"/>
                  <a:pt x="3279043" y="4176925"/>
                  <a:pt x="3279043" y="4255539"/>
                </a:cubicBezTo>
                <a:cubicBezTo>
                  <a:pt x="3279043" y="4323748"/>
                  <a:pt x="3270950" y="4390800"/>
                  <a:pt x="3255919" y="4454385"/>
                </a:cubicBezTo>
                <a:cubicBezTo>
                  <a:pt x="3253606" y="4463634"/>
                  <a:pt x="3251294" y="4474038"/>
                  <a:pt x="3248981" y="4483287"/>
                </a:cubicBezTo>
                <a:cubicBezTo>
                  <a:pt x="3247825" y="4487911"/>
                  <a:pt x="3245513" y="4492536"/>
                  <a:pt x="3244357" y="4498316"/>
                </a:cubicBezTo>
                <a:cubicBezTo>
                  <a:pt x="3240888" y="4511033"/>
                  <a:pt x="3236263" y="4524906"/>
                  <a:pt x="3231638" y="4538779"/>
                </a:cubicBezTo>
                <a:cubicBezTo>
                  <a:pt x="3222388" y="4567681"/>
                  <a:pt x="3210826" y="4596583"/>
                  <a:pt x="3198108" y="4624329"/>
                </a:cubicBezTo>
                <a:cubicBezTo>
                  <a:pt x="3191170" y="4639358"/>
                  <a:pt x="3183077" y="4654387"/>
                  <a:pt x="3174983" y="4669416"/>
                </a:cubicBezTo>
                <a:cubicBezTo>
                  <a:pt x="3170358" y="4677509"/>
                  <a:pt x="3165734" y="4686757"/>
                  <a:pt x="3161109" y="4694850"/>
                </a:cubicBezTo>
                <a:cubicBezTo>
                  <a:pt x="3122953" y="4761903"/>
                  <a:pt x="3076704" y="4823175"/>
                  <a:pt x="3022362" y="4877511"/>
                </a:cubicBezTo>
                <a:cubicBezTo>
                  <a:pt x="3015425" y="4883291"/>
                  <a:pt x="3009644" y="4889072"/>
                  <a:pt x="3002706" y="4896008"/>
                </a:cubicBezTo>
                <a:cubicBezTo>
                  <a:pt x="3001550" y="4897164"/>
                  <a:pt x="2999238" y="4899477"/>
                  <a:pt x="2996925" y="4900633"/>
                </a:cubicBezTo>
                <a:cubicBezTo>
                  <a:pt x="2992300" y="4905257"/>
                  <a:pt x="2987675" y="4909881"/>
                  <a:pt x="2983051" y="4913349"/>
                </a:cubicBezTo>
                <a:cubicBezTo>
                  <a:pt x="2980738" y="4915662"/>
                  <a:pt x="2978426" y="4917974"/>
                  <a:pt x="2976113" y="4919130"/>
                </a:cubicBezTo>
                <a:cubicBezTo>
                  <a:pt x="2971488" y="4923754"/>
                  <a:pt x="2966863" y="4927222"/>
                  <a:pt x="2962239" y="4930691"/>
                </a:cubicBezTo>
                <a:cubicBezTo>
                  <a:pt x="2959926" y="4933003"/>
                  <a:pt x="2957614" y="4935315"/>
                  <a:pt x="2955301" y="4936471"/>
                </a:cubicBezTo>
                <a:cubicBezTo>
                  <a:pt x="2950676" y="4941095"/>
                  <a:pt x="2944895" y="4945720"/>
                  <a:pt x="2939114" y="4949188"/>
                </a:cubicBezTo>
                <a:cubicBezTo>
                  <a:pt x="2937958" y="4950344"/>
                  <a:pt x="2936802" y="4951500"/>
                  <a:pt x="2934489" y="4952656"/>
                </a:cubicBezTo>
                <a:cubicBezTo>
                  <a:pt x="2927552" y="4958437"/>
                  <a:pt x="2920615" y="4964217"/>
                  <a:pt x="2913677" y="4968841"/>
                </a:cubicBezTo>
                <a:cubicBezTo>
                  <a:pt x="2911365" y="4969998"/>
                  <a:pt x="2910209" y="4971154"/>
                  <a:pt x="2907896" y="4972310"/>
                </a:cubicBezTo>
                <a:cubicBezTo>
                  <a:pt x="2902115" y="4976934"/>
                  <a:pt x="2897490" y="4980402"/>
                  <a:pt x="2891709" y="4983871"/>
                </a:cubicBezTo>
                <a:cubicBezTo>
                  <a:pt x="2889397" y="4986183"/>
                  <a:pt x="2885928" y="4987339"/>
                  <a:pt x="2883616" y="4989651"/>
                </a:cubicBezTo>
                <a:cubicBezTo>
                  <a:pt x="2881303" y="4990807"/>
                  <a:pt x="2877834" y="4993119"/>
                  <a:pt x="2875522" y="4994275"/>
                </a:cubicBezTo>
                <a:cubicBezTo>
                  <a:pt x="2875522" y="4994275"/>
                  <a:pt x="2875522" y="4994275"/>
                  <a:pt x="1922796" y="4994275"/>
                </a:cubicBezTo>
                <a:cubicBezTo>
                  <a:pt x="1922796" y="4994275"/>
                  <a:pt x="1922796" y="4994275"/>
                  <a:pt x="957351" y="4435888"/>
                </a:cubicBezTo>
                <a:cubicBezTo>
                  <a:pt x="957351" y="4435888"/>
                  <a:pt x="957351" y="4435888"/>
                  <a:pt x="440520" y="4136462"/>
                </a:cubicBezTo>
                <a:cubicBezTo>
                  <a:pt x="439364" y="4136462"/>
                  <a:pt x="439364" y="4136462"/>
                  <a:pt x="439364" y="4136462"/>
                </a:cubicBezTo>
                <a:cubicBezTo>
                  <a:pt x="406990" y="4117965"/>
                  <a:pt x="374616" y="4095999"/>
                  <a:pt x="343398" y="4072878"/>
                </a:cubicBezTo>
                <a:cubicBezTo>
                  <a:pt x="313336" y="4049756"/>
                  <a:pt x="284431" y="4024322"/>
                  <a:pt x="257837" y="3997732"/>
                </a:cubicBezTo>
                <a:cubicBezTo>
                  <a:pt x="231244" y="3971142"/>
                  <a:pt x="205807" y="3942240"/>
                  <a:pt x="182683" y="3912182"/>
                </a:cubicBezTo>
                <a:cubicBezTo>
                  <a:pt x="160715" y="3882124"/>
                  <a:pt x="139903" y="3852066"/>
                  <a:pt x="120247" y="3819696"/>
                </a:cubicBezTo>
                <a:cubicBezTo>
                  <a:pt x="120247" y="3817383"/>
                  <a:pt x="119091" y="3816227"/>
                  <a:pt x="117935" y="3815071"/>
                </a:cubicBezTo>
                <a:cubicBezTo>
                  <a:pt x="116778" y="3812759"/>
                  <a:pt x="115622" y="3810447"/>
                  <a:pt x="114466" y="3806979"/>
                </a:cubicBezTo>
                <a:cubicBezTo>
                  <a:pt x="90185" y="3765360"/>
                  <a:pt x="70530" y="3721429"/>
                  <a:pt x="53186" y="3675185"/>
                </a:cubicBezTo>
                <a:cubicBezTo>
                  <a:pt x="45093" y="3652064"/>
                  <a:pt x="36999" y="3627786"/>
                  <a:pt x="31218" y="3603508"/>
                </a:cubicBezTo>
                <a:cubicBezTo>
                  <a:pt x="11562" y="3530675"/>
                  <a:pt x="0" y="3454374"/>
                  <a:pt x="0" y="3375760"/>
                </a:cubicBezTo>
                <a:cubicBezTo>
                  <a:pt x="0" y="3297146"/>
                  <a:pt x="11562" y="3222001"/>
                  <a:pt x="31218" y="3149168"/>
                </a:cubicBezTo>
                <a:cubicBezTo>
                  <a:pt x="35843" y="3129515"/>
                  <a:pt x="41624" y="3111017"/>
                  <a:pt x="47405" y="3093676"/>
                </a:cubicBezTo>
                <a:cubicBezTo>
                  <a:pt x="61280" y="3054369"/>
                  <a:pt x="76311" y="3017375"/>
                  <a:pt x="94810" y="2980380"/>
                </a:cubicBezTo>
                <a:cubicBezTo>
                  <a:pt x="101748" y="2966507"/>
                  <a:pt x="109841" y="2951478"/>
                  <a:pt x="117935" y="2936449"/>
                </a:cubicBezTo>
                <a:cubicBezTo>
                  <a:pt x="117935" y="2936449"/>
                  <a:pt x="119091" y="2936449"/>
                  <a:pt x="119091" y="2936449"/>
                </a:cubicBezTo>
                <a:cubicBezTo>
                  <a:pt x="119091" y="2936449"/>
                  <a:pt x="119091" y="2936449"/>
                  <a:pt x="117935" y="2935293"/>
                </a:cubicBezTo>
                <a:cubicBezTo>
                  <a:pt x="120247" y="2931825"/>
                  <a:pt x="122560" y="2928356"/>
                  <a:pt x="124872" y="2924888"/>
                </a:cubicBezTo>
                <a:cubicBezTo>
                  <a:pt x="144528" y="2887893"/>
                  <a:pt x="163027" y="2849743"/>
                  <a:pt x="178058" y="2809280"/>
                </a:cubicBezTo>
                <a:cubicBezTo>
                  <a:pt x="188464" y="2781534"/>
                  <a:pt x="197714" y="2752632"/>
                  <a:pt x="205807" y="2723730"/>
                </a:cubicBezTo>
                <a:cubicBezTo>
                  <a:pt x="210432" y="2706388"/>
                  <a:pt x="215057" y="2689047"/>
                  <a:pt x="218526" y="2671706"/>
                </a:cubicBezTo>
                <a:cubicBezTo>
                  <a:pt x="230088" y="2615058"/>
                  <a:pt x="237025" y="2556098"/>
                  <a:pt x="237025" y="2495982"/>
                </a:cubicBezTo>
                <a:cubicBezTo>
                  <a:pt x="237025" y="2433553"/>
                  <a:pt x="228932" y="2372281"/>
                  <a:pt x="216213" y="2313321"/>
                </a:cubicBezTo>
                <a:cubicBezTo>
                  <a:pt x="213901" y="2298291"/>
                  <a:pt x="209276" y="2283262"/>
                  <a:pt x="205807" y="2269389"/>
                </a:cubicBezTo>
                <a:cubicBezTo>
                  <a:pt x="203495" y="2260141"/>
                  <a:pt x="201183" y="2249736"/>
                  <a:pt x="197714" y="2240487"/>
                </a:cubicBezTo>
                <a:cubicBezTo>
                  <a:pt x="178058" y="2175747"/>
                  <a:pt x="151465" y="2114474"/>
                  <a:pt x="117935" y="2057826"/>
                </a:cubicBezTo>
                <a:cubicBezTo>
                  <a:pt x="79779" y="1991930"/>
                  <a:pt x="50874" y="1920253"/>
                  <a:pt x="31218" y="1845107"/>
                </a:cubicBezTo>
                <a:cubicBezTo>
                  <a:pt x="11562" y="1772274"/>
                  <a:pt x="0" y="1697129"/>
                  <a:pt x="0" y="1618515"/>
                </a:cubicBezTo>
                <a:cubicBezTo>
                  <a:pt x="0" y="1539902"/>
                  <a:pt x="11562" y="1463600"/>
                  <a:pt x="31218" y="1390767"/>
                </a:cubicBezTo>
                <a:cubicBezTo>
                  <a:pt x="35843" y="1372270"/>
                  <a:pt x="41624" y="1353772"/>
                  <a:pt x="47405" y="1335275"/>
                </a:cubicBezTo>
                <a:cubicBezTo>
                  <a:pt x="65905" y="1280939"/>
                  <a:pt x="90185" y="1227759"/>
                  <a:pt x="117935" y="1179204"/>
                </a:cubicBezTo>
                <a:cubicBezTo>
                  <a:pt x="121403" y="1173424"/>
                  <a:pt x="124872" y="1168799"/>
                  <a:pt x="128341" y="1163019"/>
                </a:cubicBezTo>
                <a:cubicBezTo>
                  <a:pt x="151465" y="1124868"/>
                  <a:pt x="176902" y="1087874"/>
                  <a:pt x="205807" y="1053191"/>
                </a:cubicBezTo>
                <a:cubicBezTo>
                  <a:pt x="221995" y="1033538"/>
                  <a:pt x="239338" y="1015040"/>
                  <a:pt x="257837" y="996543"/>
                </a:cubicBezTo>
                <a:cubicBezTo>
                  <a:pt x="311024" y="942207"/>
                  <a:pt x="373460" y="895964"/>
                  <a:pt x="439364" y="857813"/>
                </a:cubicBezTo>
                <a:cubicBezTo>
                  <a:pt x="439364" y="857813"/>
                  <a:pt x="439364" y="857813"/>
                  <a:pt x="1923952" y="0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966403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96640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CA186A2-012F-D7DF-41D3-E1027FE9BE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07703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C6F0B4F-BE9C-C410-D151-E3F0FF8BACA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3224163" y="-1"/>
            <a:ext cx="8967837" cy="6858000"/>
          </a:xfrm>
          <a:custGeom>
            <a:avLst/>
            <a:gdLst>
              <a:gd name="connsiteX0" fmla="*/ 0 w 6869113"/>
              <a:gd name="connsiteY0" fmla="*/ 0 h 5253037"/>
              <a:gd name="connsiteX1" fmla="*/ 6869113 w 6869113"/>
              <a:gd name="connsiteY1" fmla="*/ 0 h 5253037"/>
              <a:gd name="connsiteX2" fmla="*/ 6869113 w 6869113"/>
              <a:gd name="connsiteY2" fmla="*/ 5253037 h 5253037"/>
              <a:gd name="connsiteX3" fmla="*/ 1750402 w 6869113"/>
              <a:gd name="connsiteY3" fmla="*/ 5253037 h 5253037"/>
              <a:gd name="connsiteX4" fmla="*/ 2566041 w 6869113"/>
              <a:gd name="connsiteY4" fmla="*/ 2897682 h 5253037"/>
              <a:gd name="connsiteX5" fmla="*/ 2632897 w 6869113"/>
              <a:gd name="connsiteY5" fmla="*/ 2704341 h 5253037"/>
              <a:gd name="connsiteX6" fmla="*/ 2632897 w 6869113"/>
              <a:gd name="connsiteY6" fmla="*/ 2703125 h 5253037"/>
              <a:gd name="connsiteX7" fmla="*/ 2665717 w 6869113"/>
              <a:gd name="connsiteY7" fmla="*/ 2538968 h 5253037"/>
              <a:gd name="connsiteX8" fmla="*/ 2680303 w 6869113"/>
              <a:gd name="connsiteY8" fmla="*/ 2345627 h 5253037"/>
              <a:gd name="connsiteX9" fmla="*/ 2666932 w 6869113"/>
              <a:gd name="connsiteY9" fmla="*/ 2151070 h 5253037"/>
              <a:gd name="connsiteX10" fmla="*/ 2634112 w 6869113"/>
              <a:gd name="connsiteY10" fmla="*/ 1988129 h 5253037"/>
              <a:gd name="connsiteX11" fmla="*/ 2611017 w 6869113"/>
              <a:gd name="connsiteY11" fmla="*/ 1911522 h 5253037"/>
              <a:gd name="connsiteX12" fmla="*/ 2495539 w 6869113"/>
              <a:gd name="connsiteY12" fmla="*/ 1656166 h 5253037"/>
              <a:gd name="connsiteX13" fmla="*/ 2275523 w 6869113"/>
              <a:gd name="connsiteY13" fmla="*/ 1370411 h 5253037"/>
              <a:gd name="connsiteX14" fmla="*/ 1991083 w 6869113"/>
              <a:gd name="connsiteY14" fmla="*/ 1150318 h 5253037"/>
              <a:gd name="connsiteX15" fmla="*/ 0 w 6869113"/>
              <a:gd name="connsiteY15" fmla="*/ 0 h 525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869113" h="5253037">
                <a:moveTo>
                  <a:pt x="0" y="0"/>
                </a:moveTo>
                <a:cubicBezTo>
                  <a:pt x="0" y="0"/>
                  <a:pt x="0" y="0"/>
                  <a:pt x="6869113" y="0"/>
                </a:cubicBezTo>
                <a:lnTo>
                  <a:pt x="6869113" y="5253037"/>
                </a:lnTo>
                <a:cubicBezTo>
                  <a:pt x="6869113" y="5253037"/>
                  <a:pt x="6869113" y="5253037"/>
                  <a:pt x="1750402" y="5253037"/>
                </a:cubicBezTo>
                <a:cubicBezTo>
                  <a:pt x="1750402" y="5253037"/>
                  <a:pt x="1750402" y="5253037"/>
                  <a:pt x="2566041" y="2897682"/>
                </a:cubicBezTo>
                <a:cubicBezTo>
                  <a:pt x="2592783" y="2834451"/>
                  <a:pt x="2614663" y="2770004"/>
                  <a:pt x="2632897" y="2704341"/>
                </a:cubicBezTo>
                <a:cubicBezTo>
                  <a:pt x="2632897" y="2704341"/>
                  <a:pt x="2632897" y="2703125"/>
                  <a:pt x="2632897" y="2703125"/>
                </a:cubicBezTo>
                <a:cubicBezTo>
                  <a:pt x="2647483" y="2648406"/>
                  <a:pt x="2658423" y="2593687"/>
                  <a:pt x="2665717" y="2538968"/>
                </a:cubicBezTo>
                <a:cubicBezTo>
                  <a:pt x="2675441" y="2474521"/>
                  <a:pt x="2680303" y="2410074"/>
                  <a:pt x="2680303" y="2345627"/>
                </a:cubicBezTo>
                <a:cubicBezTo>
                  <a:pt x="2680303" y="2279964"/>
                  <a:pt x="2675441" y="2215517"/>
                  <a:pt x="2666932" y="2151070"/>
                </a:cubicBezTo>
                <a:cubicBezTo>
                  <a:pt x="2658423" y="2096351"/>
                  <a:pt x="2648699" y="2041632"/>
                  <a:pt x="2634112" y="1988129"/>
                </a:cubicBezTo>
                <a:cubicBezTo>
                  <a:pt x="2626819" y="1962593"/>
                  <a:pt x="2619526" y="1937058"/>
                  <a:pt x="2611017" y="1911522"/>
                </a:cubicBezTo>
                <a:cubicBezTo>
                  <a:pt x="2580628" y="1822755"/>
                  <a:pt x="2541730" y="1737637"/>
                  <a:pt x="2495539" y="1656166"/>
                </a:cubicBezTo>
                <a:cubicBezTo>
                  <a:pt x="2435976" y="1552808"/>
                  <a:pt x="2363043" y="1456745"/>
                  <a:pt x="2275523" y="1370411"/>
                </a:cubicBezTo>
                <a:cubicBezTo>
                  <a:pt x="2192865" y="1286508"/>
                  <a:pt x="2098052" y="1212333"/>
                  <a:pt x="1991083" y="1150318"/>
                </a:cubicBezTo>
                <a:cubicBezTo>
                  <a:pt x="1991083" y="1150318"/>
                  <a:pt x="1991083" y="1150318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6665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63B41E-B889-7E52-0B82-60E5AE5F48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53755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8066F47-2899-6B2C-AE22-1C43D98EE9A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5587031" y="0"/>
            <a:ext cx="6604969" cy="6858000"/>
          </a:xfrm>
          <a:custGeom>
            <a:avLst/>
            <a:gdLst>
              <a:gd name="connsiteX0" fmla="*/ 853927 w 4806950"/>
              <a:gd name="connsiteY0" fmla="*/ 0 h 4991100"/>
              <a:gd name="connsiteX1" fmla="*/ 4806950 w 4806950"/>
              <a:gd name="connsiteY1" fmla="*/ 0 h 4991100"/>
              <a:gd name="connsiteX2" fmla="*/ 4806950 w 4806950"/>
              <a:gd name="connsiteY2" fmla="*/ 4991100 h 4991100"/>
              <a:gd name="connsiteX3" fmla="*/ 0 w 4806950"/>
              <a:gd name="connsiteY3" fmla="*/ 4991100 h 4991100"/>
              <a:gd name="connsiteX4" fmla="*/ 461051 w 4806950"/>
              <a:gd name="connsiteY4" fmla="*/ 4325620 h 4991100"/>
              <a:gd name="connsiteX5" fmla="*/ 972945 w 4806950"/>
              <a:gd name="connsiteY5" fmla="*/ 3075534 h 4991100"/>
              <a:gd name="connsiteX6" fmla="*/ 1150895 w 4806950"/>
              <a:gd name="connsiteY6" fmla="*/ 1735332 h 4991100"/>
              <a:gd name="connsiteX7" fmla="*/ 978723 w 4806950"/>
              <a:gd name="connsiteY7" fmla="*/ 395129 h 4991100"/>
              <a:gd name="connsiteX8" fmla="*/ 853927 w 4806950"/>
              <a:gd name="connsiteY8" fmla="*/ 0 h 499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6950" h="4991100">
                <a:moveTo>
                  <a:pt x="853927" y="0"/>
                </a:moveTo>
                <a:cubicBezTo>
                  <a:pt x="853927" y="0"/>
                  <a:pt x="853927" y="0"/>
                  <a:pt x="4806950" y="0"/>
                </a:cubicBezTo>
                <a:lnTo>
                  <a:pt x="4806950" y="4991100"/>
                </a:lnTo>
                <a:cubicBezTo>
                  <a:pt x="4806950" y="4991100"/>
                  <a:pt x="4806950" y="4991100"/>
                  <a:pt x="0" y="4991100"/>
                </a:cubicBezTo>
                <a:cubicBezTo>
                  <a:pt x="168706" y="4785448"/>
                  <a:pt x="323545" y="4563622"/>
                  <a:pt x="461051" y="4325620"/>
                </a:cubicBezTo>
                <a:cubicBezTo>
                  <a:pt x="692155" y="3924715"/>
                  <a:pt x="858549" y="3503013"/>
                  <a:pt x="972945" y="3075534"/>
                </a:cubicBezTo>
                <a:cubicBezTo>
                  <a:pt x="1091964" y="2633036"/>
                  <a:pt x="1150895" y="2183606"/>
                  <a:pt x="1150895" y="1735332"/>
                </a:cubicBezTo>
                <a:cubicBezTo>
                  <a:pt x="1149739" y="1281280"/>
                  <a:pt x="1095430" y="830695"/>
                  <a:pt x="978723" y="395129"/>
                </a:cubicBezTo>
                <a:cubicBezTo>
                  <a:pt x="942902" y="261109"/>
                  <a:pt x="901303" y="129399"/>
                  <a:pt x="853927" y="0"/>
                </a:cubicBezTo>
                <a:close/>
              </a:path>
            </a:pathLst>
          </a:custGeom>
        </p:spPr>
        <p:txBody>
          <a:bodyPr wrap="square" tIns="54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7020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7020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E9A84A-C3C1-B812-03F1-C53431219F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8146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yellow and orange liquid&#10;&#10;Description automatically generated">
            <a:extLst>
              <a:ext uri="{FF2B5EF4-FFF2-40B4-BE49-F238E27FC236}">
                <a16:creationId xmlns:a16="http://schemas.microsoft.com/office/drawing/2014/main" id="{A1113F07-A0CB-A3E3-0EDA-3A4FBD2A08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4400" y="-9426"/>
            <a:ext cx="7061127" cy="68688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25A3139-60F1-043D-8D3D-180EE60F1106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5279010" y="-1491"/>
            <a:ext cx="6912990" cy="6250312"/>
          </a:xfrm>
          <a:custGeom>
            <a:avLst/>
            <a:gdLst>
              <a:gd name="connsiteX0" fmla="*/ 0 w 4984750"/>
              <a:gd name="connsiteY0" fmla="*/ 0 h 4506913"/>
              <a:gd name="connsiteX1" fmla="*/ 4984750 w 4984750"/>
              <a:gd name="connsiteY1" fmla="*/ 0 h 4506913"/>
              <a:gd name="connsiteX2" fmla="*/ 4984750 w 4984750"/>
              <a:gd name="connsiteY2" fmla="*/ 4506913 h 4506913"/>
              <a:gd name="connsiteX3" fmla="*/ 4870421 w 4984750"/>
              <a:gd name="connsiteY3" fmla="*/ 4448590 h 4506913"/>
              <a:gd name="connsiteX4" fmla="*/ 4697784 w 4984750"/>
              <a:gd name="connsiteY4" fmla="*/ 4325081 h 4506913"/>
              <a:gd name="connsiteX5" fmla="*/ 4645193 w 4984750"/>
              <a:gd name="connsiteY5" fmla="*/ 4275907 h 4506913"/>
              <a:gd name="connsiteX6" fmla="*/ 4471412 w 4984750"/>
              <a:gd name="connsiteY6" fmla="*/ 4050618 h 4506913"/>
              <a:gd name="connsiteX7" fmla="*/ 4362800 w 4984750"/>
              <a:gd name="connsiteY7" fmla="*/ 3787591 h 4506913"/>
              <a:gd name="connsiteX8" fmla="*/ 4326214 w 4984750"/>
              <a:gd name="connsiteY8" fmla="*/ 3505123 h 4506913"/>
              <a:gd name="connsiteX9" fmla="*/ 4326214 w 4984750"/>
              <a:gd name="connsiteY9" fmla="*/ 3503979 h 4506913"/>
              <a:gd name="connsiteX10" fmla="*/ 4325071 w 4984750"/>
              <a:gd name="connsiteY10" fmla="*/ 3503979 h 4506913"/>
              <a:gd name="connsiteX11" fmla="*/ 4287343 w 4984750"/>
              <a:gd name="connsiteY11" fmla="*/ 3221511 h 4506913"/>
              <a:gd name="connsiteX12" fmla="*/ 4179873 w 4984750"/>
              <a:gd name="connsiteY12" fmla="*/ 2958484 h 4506913"/>
              <a:gd name="connsiteX13" fmla="*/ 4006093 w 4984750"/>
              <a:gd name="connsiteY13" fmla="*/ 2733195 h 4506913"/>
              <a:gd name="connsiteX14" fmla="*/ 3779721 w 4984750"/>
              <a:gd name="connsiteY14" fmla="*/ 2559369 h 4506913"/>
              <a:gd name="connsiteX15" fmla="*/ 3517907 w 4984750"/>
              <a:gd name="connsiteY15" fmla="*/ 2450727 h 4506913"/>
              <a:gd name="connsiteX16" fmla="*/ 3235514 w 4984750"/>
              <a:gd name="connsiteY16" fmla="*/ 2414132 h 4506913"/>
              <a:gd name="connsiteX17" fmla="*/ 2953122 w 4984750"/>
              <a:gd name="connsiteY17" fmla="*/ 2450727 h 4506913"/>
              <a:gd name="connsiteX18" fmla="*/ 2690165 w 4984750"/>
              <a:gd name="connsiteY18" fmla="*/ 2559369 h 4506913"/>
              <a:gd name="connsiteX19" fmla="*/ 2427208 w 4984750"/>
              <a:gd name="connsiteY19" fmla="*/ 2666867 h 4506913"/>
              <a:gd name="connsiteX20" fmla="*/ 2144815 w 4984750"/>
              <a:gd name="connsiteY20" fmla="*/ 2704605 h 4506913"/>
              <a:gd name="connsiteX21" fmla="*/ 1862422 w 4984750"/>
              <a:gd name="connsiteY21" fmla="*/ 2668010 h 4506913"/>
              <a:gd name="connsiteX22" fmla="*/ 1600608 w 4984750"/>
              <a:gd name="connsiteY22" fmla="*/ 2558225 h 4506913"/>
              <a:gd name="connsiteX23" fmla="*/ 1426828 w 4984750"/>
              <a:gd name="connsiteY23" fmla="*/ 2434717 h 4506913"/>
              <a:gd name="connsiteX24" fmla="*/ 1374236 w 4984750"/>
              <a:gd name="connsiteY24" fmla="*/ 2385542 h 4506913"/>
              <a:gd name="connsiteX25" fmla="*/ 1200456 w 4984750"/>
              <a:gd name="connsiteY25" fmla="*/ 2160254 h 4506913"/>
              <a:gd name="connsiteX26" fmla="*/ 1027819 w 4984750"/>
              <a:gd name="connsiteY26" fmla="*/ 1860631 h 4506913"/>
              <a:gd name="connsiteX27" fmla="*/ 109756 w 4984750"/>
              <a:gd name="connsiteY27" fmla="*/ 271032 h 4506913"/>
              <a:gd name="connsiteX28" fmla="*/ 2287 w 4984750"/>
              <a:gd name="connsiteY28" fmla="*/ 6862 h 4506913"/>
              <a:gd name="connsiteX29" fmla="*/ 0 w 4984750"/>
              <a:gd name="connsiteY29" fmla="*/ 0 h 4506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984750" h="4506913">
                <a:moveTo>
                  <a:pt x="0" y="0"/>
                </a:moveTo>
                <a:lnTo>
                  <a:pt x="4984750" y="0"/>
                </a:lnTo>
                <a:cubicBezTo>
                  <a:pt x="4984750" y="0"/>
                  <a:pt x="4984750" y="0"/>
                  <a:pt x="4984750" y="4506913"/>
                </a:cubicBezTo>
                <a:cubicBezTo>
                  <a:pt x="4945878" y="4489759"/>
                  <a:pt x="4908150" y="4470318"/>
                  <a:pt x="4870421" y="4448590"/>
                </a:cubicBezTo>
                <a:cubicBezTo>
                  <a:pt x="4809827" y="4414282"/>
                  <a:pt x="4751519" y="4371969"/>
                  <a:pt x="4697784" y="4325081"/>
                </a:cubicBezTo>
                <a:cubicBezTo>
                  <a:pt x="4679491" y="4309071"/>
                  <a:pt x="4662342" y="4293061"/>
                  <a:pt x="4645193" y="4275907"/>
                </a:cubicBezTo>
                <a:cubicBezTo>
                  <a:pt x="4578882" y="4209578"/>
                  <a:pt x="4519431" y="4135244"/>
                  <a:pt x="4471412" y="4050618"/>
                </a:cubicBezTo>
                <a:cubicBezTo>
                  <a:pt x="4422251" y="3965992"/>
                  <a:pt x="4386809" y="3876792"/>
                  <a:pt x="4362800" y="3787591"/>
                </a:cubicBezTo>
                <a:cubicBezTo>
                  <a:pt x="4337647" y="3693816"/>
                  <a:pt x="4326214" y="3598898"/>
                  <a:pt x="4326214" y="3505123"/>
                </a:cubicBezTo>
                <a:cubicBezTo>
                  <a:pt x="4326214" y="3505123"/>
                  <a:pt x="4326214" y="3503979"/>
                  <a:pt x="4326214" y="3503979"/>
                </a:cubicBezTo>
                <a:cubicBezTo>
                  <a:pt x="4326214" y="3503979"/>
                  <a:pt x="4326214" y="3503979"/>
                  <a:pt x="4325071" y="3503979"/>
                </a:cubicBezTo>
                <a:cubicBezTo>
                  <a:pt x="4325071" y="3409061"/>
                  <a:pt x="4312495" y="3315286"/>
                  <a:pt x="4287343" y="3221511"/>
                </a:cubicBezTo>
                <a:cubicBezTo>
                  <a:pt x="4263333" y="3131167"/>
                  <a:pt x="4229035" y="3043110"/>
                  <a:pt x="4179873" y="2958484"/>
                </a:cubicBezTo>
                <a:cubicBezTo>
                  <a:pt x="4130712" y="2873858"/>
                  <a:pt x="4071260" y="2799524"/>
                  <a:pt x="4006093" y="2733195"/>
                </a:cubicBezTo>
                <a:cubicBezTo>
                  <a:pt x="3937495" y="2664579"/>
                  <a:pt x="3862038" y="2607400"/>
                  <a:pt x="3779721" y="2559369"/>
                </a:cubicBezTo>
                <a:cubicBezTo>
                  <a:pt x="3697404" y="2512481"/>
                  <a:pt x="3609371" y="2474743"/>
                  <a:pt x="3517907" y="2450727"/>
                </a:cubicBezTo>
                <a:cubicBezTo>
                  <a:pt x="3426444" y="2425568"/>
                  <a:pt x="3331551" y="2414132"/>
                  <a:pt x="3235514" y="2414132"/>
                </a:cubicBezTo>
                <a:cubicBezTo>
                  <a:pt x="3141765" y="2414132"/>
                  <a:pt x="3046871" y="2426711"/>
                  <a:pt x="2953122" y="2450727"/>
                </a:cubicBezTo>
                <a:cubicBezTo>
                  <a:pt x="2863945" y="2475886"/>
                  <a:pt x="2774768" y="2510194"/>
                  <a:pt x="2690165" y="2559369"/>
                </a:cubicBezTo>
                <a:cubicBezTo>
                  <a:pt x="2605561" y="2608543"/>
                  <a:pt x="2517528" y="2642851"/>
                  <a:pt x="2427208" y="2666867"/>
                </a:cubicBezTo>
                <a:cubicBezTo>
                  <a:pt x="2333458" y="2692026"/>
                  <a:pt x="2239708" y="2704605"/>
                  <a:pt x="2144815" y="2704605"/>
                </a:cubicBezTo>
                <a:cubicBezTo>
                  <a:pt x="2049921" y="2704605"/>
                  <a:pt x="1953885" y="2693169"/>
                  <a:pt x="1862422" y="2668010"/>
                </a:cubicBezTo>
                <a:cubicBezTo>
                  <a:pt x="1770958" y="2643995"/>
                  <a:pt x="1682925" y="2606256"/>
                  <a:pt x="1600608" y="2558225"/>
                </a:cubicBezTo>
                <a:cubicBezTo>
                  <a:pt x="1538870" y="2522774"/>
                  <a:pt x="1480562" y="2481604"/>
                  <a:pt x="1426828" y="2434717"/>
                </a:cubicBezTo>
                <a:cubicBezTo>
                  <a:pt x="1409678" y="2418706"/>
                  <a:pt x="1391386" y="2402696"/>
                  <a:pt x="1374236" y="2385542"/>
                </a:cubicBezTo>
                <a:cubicBezTo>
                  <a:pt x="1309069" y="2319213"/>
                  <a:pt x="1249618" y="2244880"/>
                  <a:pt x="1200456" y="2160254"/>
                </a:cubicBezTo>
                <a:cubicBezTo>
                  <a:pt x="1200456" y="2160254"/>
                  <a:pt x="1200456" y="2160254"/>
                  <a:pt x="1027819" y="1860631"/>
                </a:cubicBezTo>
                <a:cubicBezTo>
                  <a:pt x="1027819" y="1860631"/>
                  <a:pt x="1027819" y="1860631"/>
                  <a:pt x="109756" y="271032"/>
                </a:cubicBezTo>
                <a:cubicBezTo>
                  <a:pt x="61738" y="186406"/>
                  <a:pt x="26296" y="97206"/>
                  <a:pt x="2287" y="6862"/>
                </a:cubicBezTo>
                <a:cubicBezTo>
                  <a:pt x="1143" y="4575"/>
                  <a:pt x="1143" y="2287"/>
                  <a:pt x="0" y="0"/>
                </a:cubicBezTo>
                <a:close/>
              </a:path>
            </a:pathLst>
          </a:custGeom>
        </p:spPr>
        <p:txBody>
          <a:bodyPr wrap="square" tIns="54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84856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20" name="AutoShape 3">
            <a:extLst>
              <a:ext uri="{FF2B5EF4-FFF2-40B4-BE49-F238E27FC236}">
                <a16:creationId xmlns:a16="http://schemas.microsoft.com/office/drawing/2014/main" id="{8823F573-A3DF-8EC5-FC9A-A27AF8C52AE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8755AF-7C3C-E7D5-B255-3E8E5CBAD5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50661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61289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 descr="A colorful logo with a white background&#10;&#10;Description automatically generated">
            <a:extLst>
              <a:ext uri="{FF2B5EF4-FFF2-40B4-BE49-F238E27FC236}">
                <a16:creationId xmlns:a16="http://schemas.microsoft.com/office/drawing/2014/main" id="{F576D057-6A6B-9C97-5077-7B2771E2D2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2288" y="0"/>
            <a:ext cx="6839712" cy="6858000"/>
          </a:xfrm>
          <a:prstGeom prst="rect">
            <a:avLst/>
          </a:prstGeom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>
            <a:extLst>
              <a:ext uri="{FF2B5EF4-FFF2-40B4-BE49-F238E27FC236}">
                <a16:creationId xmlns:a16="http://schemas.microsoft.com/office/drawing/2014/main" id="{C20AF777-3D3D-1432-93C2-9B745E5BDC2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85650" y="3175"/>
            <a:ext cx="4762" cy="235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2" name="Picture 14">
            <a:extLst>
              <a:ext uri="{FF2B5EF4-FFF2-40B4-BE49-F238E27FC236}">
                <a16:creationId xmlns:a16="http://schemas.microsoft.com/office/drawing/2014/main" id="{C02AEB46-FDFB-8F92-9DE9-47969ADA64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1488" y="3175"/>
            <a:ext cx="4763" cy="235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CB283727-27DA-3938-0C6F-A559BBD5BD4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77225" y="1211149"/>
            <a:ext cx="3914775" cy="5645475"/>
          </a:xfrm>
          <a:custGeom>
            <a:avLst/>
            <a:gdLst>
              <a:gd name="connsiteX0" fmla="*/ 1569376 w 3914775"/>
              <a:gd name="connsiteY0" fmla="*/ 516 h 5645475"/>
              <a:gd name="connsiteX1" fmla="*/ 2292622 w 3914775"/>
              <a:gd name="connsiteY1" fmla="*/ 205112 h 5645475"/>
              <a:gd name="connsiteX2" fmla="*/ 3914775 w 3914775"/>
              <a:gd name="connsiteY2" fmla="*/ 1140150 h 5645475"/>
              <a:gd name="connsiteX3" fmla="*/ 3914775 w 3914775"/>
              <a:gd name="connsiteY3" fmla="*/ 5645475 h 5645475"/>
              <a:gd name="connsiteX4" fmla="*/ 432151 w 3914775"/>
              <a:gd name="connsiteY4" fmla="*/ 5645475 h 5645475"/>
              <a:gd name="connsiteX5" fmla="*/ 3178 w 3914775"/>
              <a:gd name="connsiteY5" fmla="*/ 4583438 h 5645475"/>
              <a:gd name="connsiteX6" fmla="*/ 0 w 3914775"/>
              <a:gd name="connsiteY6" fmla="*/ 1527500 h 5645475"/>
              <a:gd name="connsiteX7" fmla="*/ 204954 w 3914775"/>
              <a:gd name="connsiteY7" fmla="*/ 763912 h 5645475"/>
              <a:gd name="connsiteX8" fmla="*/ 1569376 w 3914775"/>
              <a:gd name="connsiteY8" fmla="*/ 516 h 564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14775" h="5645475">
                <a:moveTo>
                  <a:pt x="1569376" y="516"/>
                </a:moveTo>
                <a:cubicBezTo>
                  <a:pt x="1815830" y="6923"/>
                  <a:pt x="2064234" y="73151"/>
                  <a:pt x="2292622" y="205112"/>
                </a:cubicBezTo>
                <a:cubicBezTo>
                  <a:pt x="2292622" y="205112"/>
                  <a:pt x="2292622" y="205112"/>
                  <a:pt x="3914775" y="1140150"/>
                </a:cubicBezTo>
                <a:cubicBezTo>
                  <a:pt x="3914775" y="1140150"/>
                  <a:pt x="3914775" y="1140150"/>
                  <a:pt x="3914775" y="5645475"/>
                </a:cubicBezTo>
                <a:cubicBezTo>
                  <a:pt x="3914775" y="5645475"/>
                  <a:pt x="3914775" y="5645475"/>
                  <a:pt x="432151" y="5645475"/>
                </a:cubicBezTo>
                <a:cubicBezTo>
                  <a:pt x="166823" y="5370838"/>
                  <a:pt x="3178" y="4996188"/>
                  <a:pt x="3178" y="4583438"/>
                </a:cubicBezTo>
                <a:cubicBezTo>
                  <a:pt x="3178" y="4583438"/>
                  <a:pt x="3178" y="4583438"/>
                  <a:pt x="0" y="1527500"/>
                </a:cubicBezTo>
                <a:cubicBezTo>
                  <a:pt x="0" y="1268737"/>
                  <a:pt x="65141" y="1005212"/>
                  <a:pt x="204954" y="763912"/>
                </a:cubicBezTo>
                <a:cubicBezTo>
                  <a:pt x="494411" y="261865"/>
                  <a:pt x="1027177" y="-13578"/>
                  <a:pt x="1569376" y="516"/>
                </a:cubicBezTo>
                <a:close/>
              </a:path>
            </a:pathLst>
          </a:custGeom>
        </p:spPr>
        <p:txBody>
          <a:bodyPr wrap="square" lIns="0" tIns="72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83772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31EAC9-05EA-1DEB-CB89-49D0310E80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693867-DF9E-DCD1-B679-91965E4F1C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A99BDA-7957-9BB8-3E94-87B829AD7A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300395-9271-488F-86C4-5FEC6C905882}" type="datetimeFigureOut">
              <a:rPr lang="es-MX" smtClean="0"/>
              <a:t>10/09/2024</a:t>
            </a:fld>
            <a:endParaRPr lang="es-MX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C9A0E6-408A-94F7-DCE1-936D535B7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69E23E-3FC4-80CF-1967-DC6BCB4C4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A463C-CDBA-4079-B6FD-839D1C64C1F9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60439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 descr="A blue and white logo&#10;&#10;Description automatically generated">
            <a:extLst>
              <a:ext uri="{FF2B5EF4-FFF2-40B4-BE49-F238E27FC236}">
                <a16:creationId xmlns:a16="http://schemas.microsoft.com/office/drawing/2014/main" id="{AC0BD0CF-E901-1F49-7489-7018F1A846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232" y="0"/>
            <a:ext cx="3477768" cy="6858000"/>
          </a:xfrm>
          <a:prstGeom prst="rect">
            <a:avLst/>
          </a:prstGeom>
        </p:spPr>
      </p:pic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31D7AA62-BCA4-5372-4DCC-B435A700D2D1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492700" y="0"/>
            <a:ext cx="6704013" cy="6858000"/>
          </a:xfrm>
          <a:custGeom>
            <a:avLst/>
            <a:gdLst>
              <a:gd name="connsiteX0" fmla="*/ 84669 w 4360424"/>
              <a:gd name="connsiteY0" fmla="*/ 0 h 4460580"/>
              <a:gd name="connsiteX1" fmla="*/ 2423376 w 4360424"/>
              <a:gd name="connsiteY1" fmla="*/ 0 h 4460580"/>
              <a:gd name="connsiteX2" fmla="*/ 2279852 w 4360424"/>
              <a:gd name="connsiteY2" fmla="*/ 1262799 h 4460580"/>
              <a:gd name="connsiteX3" fmla="*/ 2279852 w 4360424"/>
              <a:gd name="connsiteY3" fmla="*/ 1263831 h 4460580"/>
              <a:gd name="connsiteX4" fmla="*/ 3347501 w 4360424"/>
              <a:gd name="connsiteY4" fmla="*/ 3112081 h 4460580"/>
              <a:gd name="connsiteX5" fmla="*/ 4360424 w 4360424"/>
              <a:gd name="connsiteY5" fmla="*/ 3642807 h 4460580"/>
              <a:gd name="connsiteX6" fmla="*/ 4360424 w 4360424"/>
              <a:gd name="connsiteY6" fmla="*/ 4460580 h 4460580"/>
              <a:gd name="connsiteX7" fmla="*/ 1033 w 4360424"/>
              <a:gd name="connsiteY7" fmla="*/ 4460580 h 4460580"/>
              <a:gd name="connsiteX8" fmla="*/ 0 w 4360424"/>
              <a:gd name="connsiteY8" fmla="*/ 4428571 h 4460580"/>
              <a:gd name="connsiteX9" fmla="*/ 533824 w 4360424"/>
              <a:gd name="connsiteY9" fmla="*/ 3504447 h 4460580"/>
              <a:gd name="connsiteX10" fmla="*/ 925158 w 4360424"/>
              <a:gd name="connsiteY10" fmla="*/ 2044433 h 4460580"/>
              <a:gd name="connsiteX11" fmla="*/ 533824 w 4360424"/>
              <a:gd name="connsiteY11" fmla="*/ 1654132 h 4460580"/>
              <a:gd name="connsiteX12" fmla="*/ 0 w 4360424"/>
              <a:gd name="connsiteY12" fmla="*/ 728975 h 4460580"/>
              <a:gd name="connsiteX13" fmla="*/ 84669 w 4360424"/>
              <a:gd name="connsiteY13" fmla="*/ 0 h 4460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360424" h="4460580">
                <a:moveTo>
                  <a:pt x="84669" y="0"/>
                </a:moveTo>
                <a:cubicBezTo>
                  <a:pt x="84669" y="0"/>
                  <a:pt x="84669" y="0"/>
                  <a:pt x="2423376" y="0"/>
                </a:cubicBezTo>
                <a:cubicBezTo>
                  <a:pt x="2111548" y="334544"/>
                  <a:pt x="2039270" y="845652"/>
                  <a:pt x="2279852" y="1262799"/>
                </a:cubicBezTo>
                <a:cubicBezTo>
                  <a:pt x="2279852" y="1262799"/>
                  <a:pt x="2279852" y="1263831"/>
                  <a:pt x="2279852" y="1263831"/>
                </a:cubicBezTo>
                <a:cubicBezTo>
                  <a:pt x="2279852" y="1263831"/>
                  <a:pt x="2279852" y="1263831"/>
                  <a:pt x="3347501" y="3112081"/>
                </a:cubicBezTo>
                <a:cubicBezTo>
                  <a:pt x="3561237" y="3481731"/>
                  <a:pt x="3961863" y="3675848"/>
                  <a:pt x="4360424" y="3642807"/>
                </a:cubicBezTo>
                <a:lnTo>
                  <a:pt x="4360424" y="4460580"/>
                </a:lnTo>
                <a:cubicBezTo>
                  <a:pt x="4360424" y="4460580"/>
                  <a:pt x="4360424" y="4460580"/>
                  <a:pt x="1033" y="4460580"/>
                </a:cubicBezTo>
                <a:cubicBezTo>
                  <a:pt x="0" y="4450255"/>
                  <a:pt x="0" y="4439929"/>
                  <a:pt x="0" y="4428571"/>
                </a:cubicBezTo>
                <a:cubicBezTo>
                  <a:pt x="0" y="4034140"/>
                  <a:pt x="214769" y="3689272"/>
                  <a:pt x="533824" y="3504447"/>
                </a:cubicBezTo>
                <a:cubicBezTo>
                  <a:pt x="1044932" y="3209140"/>
                  <a:pt x="1220465" y="2555541"/>
                  <a:pt x="925158" y="2044433"/>
                </a:cubicBezTo>
                <a:cubicBezTo>
                  <a:pt x="828099" y="1876128"/>
                  <a:pt x="691803" y="1743963"/>
                  <a:pt x="533824" y="1654132"/>
                </a:cubicBezTo>
                <a:cubicBezTo>
                  <a:pt x="215801" y="1469307"/>
                  <a:pt x="1033" y="1123406"/>
                  <a:pt x="0" y="728975"/>
                </a:cubicBezTo>
                <a:cubicBezTo>
                  <a:pt x="1033" y="483230"/>
                  <a:pt x="29944" y="238517"/>
                  <a:pt x="84669" y="0"/>
                </a:cubicBezTo>
                <a:close/>
              </a:path>
            </a:pathLst>
          </a:custGeom>
        </p:spPr>
        <p:txBody>
          <a:bodyPr wrap="square" lIns="360000" tIns="720000">
            <a:noAutofit/>
          </a:bodyPr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DD782ED-2E52-0B10-229F-72089511AF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6675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040000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040000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15" name="Picture 14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A3B3504A-642D-2098-B6A7-BF3E24CA62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8822" y="-4713"/>
            <a:ext cx="6232604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C248D9A-D268-4E9D-6415-1972371EC3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4176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81842B72-DE57-7161-E5B4-2856221FBF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910" y="-18852"/>
            <a:ext cx="7559026" cy="687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38020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8AD42F-E600-2317-79C2-DE914C6C3D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38923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871538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630F0D-3887-6D2F-5720-3333334C13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863828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F39D8E-4140-1FAB-7479-6231CA188B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98848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63FBBE-05C7-4083-A849-9413DA7CD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55175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lots on a white background&#10;&#10;Description automatically generated">
            <a:extLst>
              <a:ext uri="{FF2B5EF4-FFF2-40B4-BE49-F238E27FC236}">
                <a16:creationId xmlns:a16="http://schemas.microsoft.com/office/drawing/2014/main" id="{38AE2E2E-B5FC-5672-3429-3E8A6AB109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" y="0"/>
            <a:ext cx="1218996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547446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2803490"/>
            <a:ext cx="5040000" cy="1009685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570220-4AD5-881C-771E-B6B519D7DB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062644" y="166948"/>
            <a:ext cx="2030412" cy="1387210"/>
          </a:xfrm>
        </p:spPr>
        <p:txBody>
          <a:bodyPr/>
          <a:lstStyle>
            <a:lvl1pPr>
              <a:defRPr sz="9600" b="0" spc="-30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#.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165585-72E5-0935-2895-827D52B47E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21759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olorful background with circles&#10;&#10;Description automatically generated with medium confidence">
            <a:extLst>
              <a:ext uri="{FF2B5EF4-FFF2-40B4-BE49-F238E27FC236}">
                <a16:creationId xmlns:a16="http://schemas.microsoft.com/office/drawing/2014/main" id="{C91B6CF2-2640-B246-06EA-F829113211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1240" y="0"/>
            <a:ext cx="10052304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570220-4AD5-881C-771E-B6B519D7DB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062644" y="166948"/>
            <a:ext cx="2030412" cy="1387210"/>
          </a:xfrm>
        </p:spPr>
        <p:txBody>
          <a:bodyPr/>
          <a:lstStyle>
            <a:lvl1pPr>
              <a:defRPr sz="9600" b="0" spc="-30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#.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30628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yellow and orange gradient&#10;&#10;Description automatically generated">
            <a:extLst>
              <a:ext uri="{FF2B5EF4-FFF2-40B4-BE49-F238E27FC236}">
                <a16:creationId xmlns:a16="http://schemas.microsoft.com/office/drawing/2014/main" id="{0B04CB88-E642-883E-3304-60C8788ABE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5"/>
          <a:stretch/>
        </p:blipFill>
        <p:spPr>
          <a:xfrm>
            <a:off x="8986074" y="-9527"/>
            <a:ext cx="3207600" cy="686752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4004310"/>
            <a:ext cx="1671637" cy="207835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7C20C0D-2FE9-6A74-C138-7BC872F18F06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30324" y="0"/>
            <a:ext cx="5861676" cy="6858000"/>
          </a:xfrm>
          <a:custGeom>
            <a:avLst/>
            <a:gdLst>
              <a:gd name="connsiteX0" fmla="*/ 0 w 4081463"/>
              <a:gd name="connsiteY0" fmla="*/ 0 h 4775200"/>
              <a:gd name="connsiteX1" fmla="*/ 4081463 w 4081463"/>
              <a:gd name="connsiteY1" fmla="*/ 0 h 4775200"/>
              <a:gd name="connsiteX2" fmla="*/ 4081463 w 4081463"/>
              <a:gd name="connsiteY2" fmla="*/ 1513252 h 4775200"/>
              <a:gd name="connsiteX3" fmla="*/ 3994130 w 4081463"/>
              <a:gd name="connsiteY3" fmla="*/ 1557467 h 4775200"/>
              <a:gd name="connsiteX4" fmla="*/ 2382328 w 4081463"/>
              <a:gd name="connsiteY4" fmla="*/ 2488189 h 4775200"/>
              <a:gd name="connsiteX5" fmla="*/ 2041837 w 4081463"/>
              <a:gd name="connsiteY5" fmla="*/ 3758259 h 4775200"/>
              <a:gd name="connsiteX6" fmla="*/ 2166757 w 4081463"/>
              <a:gd name="connsiteY6" fmla="*/ 4223620 h 4775200"/>
              <a:gd name="connsiteX7" fmla="*/ 1985457 w 4081463"/>
              <a:gd name="connsiteY7" fmla="*/ 4775200 h 4775200"/>
              <a:gd name="connsiteX8" fmla="*/ 0 w 4081463"/>
              <a:gd name="connsiteY8" fmla="*/ 4775200 h 4775200"/>
              <a:gd name="connsiteX9" fmla="*/ 0 w 4081463"/>
              <a:gd name="connsiteY9" fmla="*/ 0 h 477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81463" h="4775200">
                <a:moveTo>
                  <a:pt x="0" y="0"/>
                </a:moveTo>
                <a:cubicBezTo>
                  <a:pt x="0" y="0"/>
                  <a:pt x="0" y="0"/>
                  <a:pt x="4081463" y="0"/>
                </a:cubicBezTo>
                <a:cubicBezTo>
                  <a:pt x="4081463" y="0"/>
                  <a:pt x="4081463" y="0"/>
                  <a:pt x="4081463" y="1513252"/>
                </a:cubicBezTo>
                <a:cubicBezTo>
                  <a:pt x="4051615" y="1526517"/>
                  <a:pt x="4021767" y="1540886"/>
                  <a:pt x="3994130" y="1557467"/>
                </a:cubicBezTo>
                <a:cubicBezTo>
                  <a:pt x="3994130" y="1557467"/>
                  <a:pt x="3994130" y="1557467"/>
                  <a:pt x="2382328" y="2488189"/>
                </a:cubicBezTo>
                <a:cubicBezTo>
                  <a:pt x="1936816" y="2744635"/>
                  <a:pt x="1785364" y="3313900"/>
                  <a:pt x="2041837" y="3758259"/>
                </a:cubicBezTo>
                <a:cubicBezTo>
                  <a:pt x="2121432" y="3895325"/>
                  <a:pt x="2166757" y="4054499"/>
                  <a:pt x="2166757" y="4223620"/>
                </a:cubicBezTo>
                <a:cubicBezTo>
                  <a:pt x="2166757" y="4430325"/>
                  <a:pt x="2099323" y="4620448"/>
                  <a:pt x="1985457" y="4775200"/>
                </a:cubicBezTo>
                <a:lnTo>
                  <a:pt x="0" y="4775200"/>
                </a:lnTo>
                <a:cubicBezTo>
                  <a:pt x="0" y="4775200"/>
                  <a:pt x="0" y="4775200"/>
                  <a:pt x="0" y="0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2ED556-318C-0990-9C21-48245CFA04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2348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774301-6F26-603F-3BFF-EAC7174C7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8C7AB7-2857-0838-1E18-0D68AEF8C0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937A08-2C93-E20B-C803-7F22DA5B5A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300395-9271-488F-86C4-5FEC6C905882}" type="datetimeFigureOut">
              <a:rPr lang="es-MX" smtClean="0"/>
              <a:t>10/09/2024</a:t>
            </a:fld>
            <a:endParaRPr lang="es-MX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B2D7DD-5AC7-CF91-72F6-CC18CF717B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687903-22A7-EA4F-9548-FDEC36DD2C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A463C-CDBA-4079-B6FD-839D1C64C1F9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7172925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blue and white gradient&#10;&#10;Description automatically generated">
            <a:extLst>
              <a:ext uri="{FF2B5EF4-FFF2-40B4-BE49-F238E27FC236}">
                <a16:creationId xmlns:a16="http://schemas.microsoft.com/office/drawing/2014/main" id="{72EC2625-A38D-61B4-9C4E-7AAF537F30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740" y="4761"/>
            <a:ext cx="589526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E152E3B-E177-1B16-46B4-B021D02EEE38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38292" y="-2"/>
            <a:ext cx="5853707" cy="6588000"/>
          </a:xfrm>
          <a:custGeom>
            <a:avLst/>
            <a:gdLst>
              <a:gd name="connsiteX0" fmla="*/ 0 w 4592638"/>
              <a:gd name="connsiteY0" fmla="*/ 0 h 5159375"/>
              <a:gd name="connsiteX1" fmla="*/ 4592638 w 4592638"/>
              <a:gd name="connsiteY1" fmla="*/ 0 h 5159375"/>
              <a:gd name="connsiteX2" fmla="*/ 4592638 w 4592638"/>
              <a:gd name="connsiteY2" fmla="*/ 4626762 h 5159375"/>
              <a:gd name="connsiteX3" fmla="*/ 4149674 w 4592638"/>
              <a:gd name="connsiteY3" fmla="*/ 4486143 h 5159375"/>
              <a:gd name="connsiteX4" fmla="*/ 3755238 w 4592638"/>
              <a:gd name="connsiteY4" fmla="*/ 4091661 h 5159375"/>
              <a:gd name="connsiteX5" fmla="*/ 3753993 w 4592638"/>
              <a:gd name="connsiteY5" fmla="*/ 4089172 h 5159375"/>
              <a:gd name="connsiteX6" fmla="*/ 2270811 w 4592638"/>
              <a:gd name="connsiteY6" fmla="*/ 3693446 h 5159375"/>
              <a:gd name="connsiteX7" fmla="*/ 389460 w 4592638"/>
              <a:gd name="connsiteY7" fmla="*/ 4776093 h 5159375"/>
              <a:gd name="connsiteX8" fmla="*/ 0 w 4592638"/>
              <a:gd name="connsiteY8" fmla="*/ 5159375 h 5159375"/>
              <a:gd name="connsiteX9" fmla="*/ 0 w 4592638"/>
              <a:gd name="connsiteY9" fmla="*/ 0 h 515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92638" h="5159375">
                <a:moveTo>
                  <a:pt x="0" y="0"/>
                </a:moveTo>
                <a:cubicBezTo>
                  <a:pt x="0" y="0"/>
                  <a:pt x="0" y="0"/>
                  <a:pt x="4592638" y="0"/>
                </a:cubicBezTo>
                <a:cubicBezTo>
                  <a:pt x="4592638" y="0"/>
                  <a:pt x="4592638" y="0"/>
                  <a:pt x="4592638" y="4626762"/>
                </a:cubicBezTo>
                <a:cubicBezTo>
                  <a:pt x="4440836" y="4613074"/>
                  <a:pt x="4290278" y="4567030"/>
                  <a:pt x="4149674" y="4486143"/>
                </a:cubicBezTo>
                <a:cubicBezTo>
                  <a:pt x="3980452" y="4387833"/>
                  <a:pt x="3847314" y="4250947"/>
                  <a:pt x="3755238" y="4091661"/>
                </a:cubicBezTo>
                <a:cubicBezTo>
                  <a:pt x="3755238" y="4090416"/>
                  <a:pt x="3753993" y="4090416"/>
                  <a:pt x="3753993" y="4089172"/>
                </a:cubicBezTo>
                <a:cubicBezTo>
                  <a:pt x="3454122" y="3570248"/>
                  <a:pt x="2789676" y="3393540"/>
                  <a:pt x="2270811" y="3693446"/>
                </a:cubicBezTo>
                <a:cubicBezTo>
                  <a:pt x="2270811" y="3693446"/>
                  <a:pt x="2270811" y="3693446"/>
                  <a:pt x="389460" y="4776093"/>
                </a:cubicBezTo>
                <a:cubicBezTo>
                  <a:pt x="233925" y="4865692"/>
                  <a:pt x="98298" y="4995112"/>
                  <a:pt x="0" y="5159375"/>
                </a:cubicBezTo>
                <a:cubicBezTo>
                  <a:pt x="0" y="5159375"/>
                  <a:pt x="0" y="5159375"/>
                  <a:pt x="0" y="0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FD62E096-A235-2AF4-53E4-CAEC001F3C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58F3E1-5C23-876B-AA37-33886032515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3112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urple and pink gradient&#10;&#10;Description automatically generated">
            <a:extLst>
              <a:ext uri="{FF2B5EF4-FFF2-40B4-BE49-F238E27FC236}">
                <a16:creationId xmlns:a16="http://schemas.microsoft.com/office/drawing/2014/main" id="{4CFC4D6F-F4FC-EC45-2FC3-20D2A4C97C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0468" y="-207409"/>
            <a:ext cx="327819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5036251"/>
            <a:ext cx="1733550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1CB4DF3-2ECC-10A9-A07B-6BB73D0157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1" y="1998482"/>
            <a:ext cx="11168062" cy="4050866"/>
          </a:xfrm>
          <a:custGeom>
            <a:avLst/>
            <a:gdLst>
              <a:gd name="connsiteX0" fmla="*/ 0 w 8275638"/>
              <a:gd name="connsiteY0" fmla="*/ 0 h 3148012"/>
              <a:gd name="connsiteX1" fmla="*/ 8275638 w 8275638"/>
              <a:gd name="connsiteY1" fmla="*/ 0 h 3148012"/>
              <a:gd name="connsiteX2" fmla="*/ 8275638 w 8275638"/>
              <a:gd name="connsiteY2" fmla="*/ 1689924 h 3148012"/>
              <a:gd name="connsiteX3" fmla="*/ 7599716 w 8275638"/>
              <a:gd name="connsiteY3" fmla="*/ 1649912 h 3148012"/>
              <a:gd name="connsiteX4" fmla="*/ 6533522 w 8275638"/>
              <a:gd name="connsiteY4" fmla="*/ 2266569 h 3148012"/>
              <a:gd name="connsiteX5" fmla="*/ 6308999 w 8275638"/>
              <a:gd name="connsiteY5" fmla="*/ 3108000 h 3148012"/>
              <a:gd name="connsiteX6" fmla="*/ 6334860 w 8275638"/>
              <a:gd name="connsiteY6" fmla="*/ 3148012 h 3148012"/>
              <a:gd name="connsiteX7" fmla="*/ 0 w 8275638"/>
              <a:gd name="connsiteY7" fmla="*/ 3148012 h 3148012"/>
              <a:gd name="connsiteX8" fmla="*/ 0 w 8275638"/>
              <a:gd name="connsiteY8" fmla="*/ 0 h 314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75638" h="3148012">
                <a:moveTo>
                  <a:pt x="0" y="0"/>
                </a:moveTo>
                <a:lnTo>
                  <a:pt x="8275638" y="0"/>
                </a:lnTo>
                <a:cubicBezTo>
                  <a:pt x="8275638" y="0"/>
                  <a:pt x="8275638" y="0"/>
                  <a:pt x="8275638" y="1689924"/>
                </a:cubicBezTo>
                <a:cubicBezTo>
                  <a:pt x="8085205" y="1546351"/>
                  <a:pt x="7819537" y="1522814"/>
                  <a:pt x="7599716" y="1649912"/>
                </a:cubicBezTo>
                <a:cubicBezTo>
                  <a:pt x="7599716" y="1649912"/>
                  <a:pt x="7599716" y="1649912"/>
                  <a:pt x="6533522" y="2266569"/>
                </a:cubicBezTo>
                <a:cubicBezTo>
                  <a:pt x="6239643" y="2436032"/>
                  <a:pt x="6139724" y="2813793"/>
                  <a:pt x="6308999" y="3108000"/>
                </a:cubicBezTo>
                <a:cubicBezTo>
                  <a:pt x="6317227" y="3122122"/>
                  <a:pt x="6325456" y="3135067"/>
                  <a:pt x="6334860" y="3148012"/>
                </a:cubicBezTo>
                <a:cubicBezTo>
                  <a:pt x="6334860" y="3148012"/>
                  <a:pt x="6334860" y="3148012"/>
                  <a:pt x="0" y="3148012"/>
                </a:cubicBezTo>
                <a:cubicBezTo>
                  <a:pt x="0" y="3148012"/>
                  <a:pt x="0" y="3148012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D5F72E-9CFA-4DC4-D9DD-072AFE5847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859583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37E8A8-F9EE-A285-FF1E-7C72507165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81455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CA0151-005B-24C8-CF3E-521AC30F0A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164383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urple and pink gradient&#10;&#10;Description automatically generated">
            <a:extLst>
              <a:ext uri="{FF2B5EF4-FFF2-40B4-BE49-F238E27FC236}">
                <a16:creationId xmlns:a16="http://schemas.microsoft.com/office/drawing/2014/main" id="{5B8D7F47-1AA6-7D29-53BC-322F508C66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025" y="0"/>
            <a:ext cx="470097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Business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01025" y="5229371"/>
            <a:ext cx="190023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DCD79BA-CAF7-9026-0080-6F10C42F5D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9156750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Black Logo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urple and pink gradient&#10;&#10;Description automatically generated">
            <a:extLst>
              <a:ext uri="{FF2B5EF4-FFF2-40B4-BE49-F238E27FC236}">
                <a16:creationId xmlns:a16="http://schemas.microsoft.com/office/drawing/2014/main" id="{5B8D7F47-1AA6-7D29-53BC-322F508C66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025" y="0"/>
            <a:ext cx="470097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Business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01025" y="5229371"/>
            <a:ext cx="1900238" cy="6924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2763036-8FF1-9BC6-BCDE-A0EA688EA27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14000" y="6134400"/>
            <a:ext cx="3438000" cy="641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8293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+ Sh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900CA3A-D5C6-6306-F264-B33E7114A5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5276289"/>
            <a:ext cx="4892510" cy="15911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Business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42DB7D-E407-5F5A-966C-150D9FA07A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186580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2A464A1-EE84-A23B-881D-10670F2C8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121667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Shap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B02303-1EE2-81CD-39CF-6C01FF93C2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811" y="0"/>
            <a:ext cx="6092517" cy="6858000"/>
          </a:xfrm>
          <a:custGeom>
            <a:avLst/>
            <a:gdLst>
              <a:gd name="connsiteX0" fmla="*/ 0 w 3702050"/>
              <a:gd name="connsiteY0" fmla="*/ 0 h 4167187"/>
              <a:gd name="connsiteX1" fmla="*/ 3702050 w 3702050"/>
              <a:gd name="connsiteY1" fmla="*/ 0 h 4167187"/>
              <a:gd name="connsiteX2" fmla="*/ 3702050 w 3702050"/>
              <a:gd name="connsiteY2" fmla="*/ 4167187 h 4167187"/>
              <a:gd name="connsiteX3" fmla="*/ 2952573 w 3702050"/>
              <a:gd name="connsiteY3" fmla="*/ 4167187 h 4167187"/>
              <a:gd name="connsiteX4" fmla="*/ 1403461 w 3702050"/>
              <a:gd name="connsiteY4" fmla="*/ 3267190 h 4167187"/>
              <a:gd name="connsiteX5" fmla="*/ 746584 w 3702050"/>
              <a:gd name="connsiteY5" fmla="*/ 3443717 h 4167187"/>
              <a:gd name="connsiteX6" fmla="*/ 333744 w 3702050"/>
              <a:gd name="connsiteY6" fmla="*/ 3685838 h 4167187"/>
              <a:gd name="connsiteX7" fmla="*/ 323134 w 3702050"/>
              <a:gd name="connsiteY7" fmla="*/ 3685838 h 4167187"/>
              <a:gd name="connsiteX8" fmla="*/ 0 w 3702050"/>
              <a:gd name="connsiteY8" fmla="*/ 3817992 h 4167187"/>
              <a:gd name="connsiteX9" fmla="*/ 0 w 3702050"/>
              <a:gd name="connsiteY9" fmla="*/ 3737980 h 4167187"/>
              <a:gd name="connsiteX10" fmla="*/ 0 w 3702050"/>
              <a:gd name="connsiteY10" fmla="*/ 0 h 416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02050" h="4167187">
                <a:moveTo>
                  <a:pt x="0" y="0"/>
                </a:moveTo>
                <a:lnTo>
                  <a:pt x="3702050" y="0"/>
                </a:lnTo>
                <a:cubicBezTo>
                  <a:pt x="3702050" y="0"/>
                  <a:pt x="3702050" y="0"/>
                  <a:pt x="3702050" y="4167187"/>
                </a:cubicBezTo>
                <a:cubicBezTo>
                  <a:pt x="3702050" y="4167187"/>
                  <a:pt x="3702050" y="4167187"/>
                  <a:pt x="2952573" y="4167187"/>
                </a:cubicBezTo>
                <a:cubicBezTo>
                  <a:pt x="2952573" y="4167187"/>
                  <a:pt x="2952573" y="4167187"/>
                  <a:pt x="1403461" y="3267190"/>
                </a:cubicBezTo>
                <a:cubicBezTo>
                  <a:pt x="1172927" y="3134072"/>
                  <a:pt x="879695" y="3213171"/>
                  <a:pt x="746584" y="3443717"/>
                </a:cubicBezTo>
                <a:cubicBezTo>
                  <a:pt x="658807" y="3597093"/>
                  <a:pt x="498687" y="3683909"/>
                  <a:pt x="333744" y="3685838"/>
                </a:cubicBezTo>
                <a:cubicBezTo>
                  <a:pt x="333744" y="3685838"/>
                  <a:pt x="333744" y="3685838"/>
                  <a:pt x="323134" y="3685838"/>
                </a:cubicBezTo>
                <a:cubicBezTo>
                  <a:pt x="197739" y="3687768"/>
                  <a:pt x="83919" y="3737928"/>
                  <a:pt x="0" y="3817992"/>
                </a:cubicBezTo>
                <a:lnTo>
                  <a:pt x="0" y="3737980"/>
                </a:lnTo>
                <a:cubicBezTo>
                  <a:pt x="0" y="3251545"/>
                  <a:pt x="0" y="2213818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1FBC89-74CA-0EA5-E00A-CE9A96E9D7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415839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/Caption + Large Copy [Dar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  <a:solidFill>
            <a:schemeClr val="tx1"/>
          </a:solidFill>
        </p:spPr>
        <p:txBody>
          <a:bodyPr lIns="90000" tIns="90000"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/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E4799D-5266-2C4B-5856-EB8982C687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000" y="6134400"/>
            <a:ext cx="3438000" cy="641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4936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354B2E-EF61-15A9-4B5E-3FB6CA8C9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2640DE-8D19-3D7A-5D7C-A4525E40A8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82D082-AE15-4E73-F453-2F3399D23C7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FC8A4E-89BF-AA88-7FE1-B522A03F11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300395-9271-488F-86C4-5FEC6C905882}" type="datetimeFigureOut">
              <a:rPr lang="es-MX" smtClean="0"/>
              <a:t>10/09/2024</a:t>
            </a:fld>
            <a:endParaRPr lang="es-MX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455A2A-C880-FF61-2FA7-C8CD8A5FB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768430-6B07-EF7C-B627-F0D6FA925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A463C-CDBA-4079-B6FD-839D1C64C1F9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1242358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olorful background with a white background&#10;&#10;Description automatically generated">
            <a:extLst>
              <a:ext uri="{FF2B5EF4-FFF2-40B4-BE49-F238E27FC236}">
                <a16:creationId xmlns:a16="http://schemas.microsoft.com/office/drawing/2014/main" id="{6E2AE908-B32C-618E-A8AF-A55B76056D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38623" y="300038"/>
            <a:ext cx="7519987" cy="4738687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chemeClr val="bg1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EE9C070-2AB6-012A-2332-D7EE9753D9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427581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background with a white circle&#10;&#10;Description automatically generated">
            <a:extLst>
              <a:ext uri="{FF2B5EF4-FFF2-40B4-BE49-F238E27FC236}">
                <a16:creationId xmlns:a16="http://schemas.microsoft.com/office/drawing/2014/main" id="{D8D2F2BA-B806-ECC0-C680-5177E7CFB4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1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021386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orange background&#10;&#10;Description automatically generated">
            <a:extLst>
              <a:ext uri="{FF2B5EF4-FFF2-40B4-BE49-F238E27FC236}">
                <a16:creationId xmlns:a16="http://schemas.microsoft.com/office/drawing/2014/main" id="{52B78836-D270-8BD3-A8B5-AC1F92081A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608" y="0"/>
            <a:ext cx="11137392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chemeClr val="bg1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3727CC1-73E6-B4A9-2C91-E25905CCB6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946300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gradient on a white background&#10;&#10;Description automatically generated">
            <a:extLst>
              <a:ext uri="{FF2B5EF4-FFF2-40B4-BE49-F238E27FC236}">
                <a16:creationId xmlns:a16="http://schemas.microsoft.com/office/drawing/2014/main" id="{BE488759-E3E9-A6FC-71CC-4B41E86D47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86856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EB4079-A5FD-C3C8-29D8-4AFFAD91CC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814479" cy="5895975"/>
          </a:xfrm>
          <a:custGeom>
            <a:avLst/>
            <a:gdLst>
              <a:gd name="connsiteX0" fmla="*/ 2035735 w 3796509"/>
              <a:gd name="connsiteY0" fmla="*/ 0 h 3849721"/>
              <a:gd name="connsiteX1" fmla="*/ 3026232 w 3796509"/>
              <a:gd name="connsiteY1" fmla="*/ 0 h 3849721"/>
              <a:gd name="connsiteX2" fmla="*/ 3033499 w 3796509"/>
              <a:gd name="connsiteY2" fmla="*/ 9346 h 3849721"/>
              <a:gd name="connsiteX3" fmla="*/ 3036614 w 3796509"/>
              <a:gd name="connsiteY3" fmla="*/ 13500 h 3849721"/>
              <a:gd name="connsiteX4" fmla="*/ 3043882 w 3796509"/>
              <a:gd name="connsiteY4" fmla="*/ 23884 h 3849721"/>
              <a:gd name="connsiteX5" fmla="*/ 3048035 w 3796509"/>
              <a:gd name="connsiteY5" fmla="*/ 29076 h 3849721"/>
              <a:gd name="connsiteX6" fmla="*/ 3061532 w 3796509"/>
              <a:gd name="connsiteY6" fmla="*/ 49844 h 3849721"/>
              <a:gd name="connsiteX7" fmla="*/ 3063609 w 3796509"/>
              <a:gd name="connsiteY7" fmla="*/ 52960 h 3849721"/>
              <a:gd name="connsiteX8" fmla="*/ 3079183 w 3796509"/>
              <a:gd name="connsiteY8" fmla="*/ 77882 h 3849721"/>
              <a:gd name="connsiteX9" fmla="*/ 3711481 w 3796509"/>
              <a:gd name="connsiteY9" fmla="*/ 1173416 h 3849721"/>
              <a:gd name="connsiteX10" fmla="*/ 3767547 w 3796509"/>
              <a:gd name="connsiteY10" fmla="*/ 1678089 h 3849721"/>
              <a:gd name="connsiteX11" fmla="*/ 3478911 w 3796509"/>
              <a:gd name="connsiteY11" fmla="*/ 2038421 h 3849721"/>
              <a:gd name="connsiteX12" fmla="*/ 3164320 w 3796509"/>
              <a:gd name="connsiteY12" fmla="*/ 2555555 h 3849721"/>
              <a:gd name="connsiteX13" fmla="*/ 2995084 w 3796509"/>
              <a:gd name="connsiteY13" fmla="*/ 3217030 h 3849721"/>
              <a:gd name="connsiteX14" fmla="*/ 1266387 w 3796509"/>
              <a:gd name="connsiteY14" fmla="*/ 3680166 h 3849721"/>
              <a:gd name="connsiteX15" fmla="*/ 634089 w 3796509"/>
              <a:gd name="connsiteY15" fmla="*/ 2629283 h 3849721"/>
              <a:gd name="connsiteX16" fmla="*/ 633051 w 3796509"/>
              <a:gd name="connsiteY16" fmla="*/ 2586708 h 3849721"/>
              <a:gd name="connsiteX17" fmla="*/ 430591 w 3796509"/>
              <a:gd name="connsiteY17" fmla="*/ 2123572 h 3849721"/>
              <a:gd name="connsiteX18" fmla="*/ 348569 w 3796509"/>
              <a:gd name="connsiteY18" fmla="*/ 2058151 h 3849721"/>
              <a:gd name="connsiteX19" fmla="*/ 345454 w 3796509"/>
              <a:gd name="connsiteY19" fmla="*/ 2056075 h 3849721"/>
              <a:gd name="connsiteX20" fmla="*/ 334033 w 3796509"/>
              <a:gd name="connsiteY20" fmla="*/ 2048806 h 3849721"/>
              <a:gd name="connsiteX21" fmla="*/ 317421 w 3796509"/>
              <a:gd name="connsiteY21" fmla="*/ 2039460 h 3849721"/>
              <a:gd name="connsiteX22" fmla="*/ 84851 w 3796509"/>
              <a:gd name="connsiteY22" fmla="*/ 1173416 h 3849721"/>
              <a:gd name="connsiteX23" fmla="*/ 948681 w 3796509"/>
              <a:gd name="connsiteY23" fmla="*/ 941848 h 3849721"/>
              <a:gd name="connsiteX24" fmla="*/ 1265349 w 3796509"/>
              <a:gd name="connsiteY24" fmla="*/ 1026999 h 3849721"/>
              <a:gd name="connsiteX25" fmla="*/ 1897647 w 3796509"/>
              <a:gd name="connsiteY25" fmla="*/ 395639 h 3849721"/>
              <a:gd name="connsiteX26" fmla="*/ 2035735 w 3796509"/>
              <a:gd name="connsiteY26" fmla="*/ 0 h 384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796509" h="3849721">
                <a:moveTo>
                  <a:pt x="2035735" y="0"/>
                </a:moveTo>
                <a:cubicBezTo>
                  <a:pt x="2035735" y="0"/>
                  <a:pt x="2035735" y="0"/>
                  <a:pt x="3026232" y="0"/>
                </a:cubicBezTo>
                <a:cubicBezTo>
                  <a:pt x="3028308" y="3115"/>
                  <a:pt x="3031423" y="6231"/>
                  <a:pt x="3033499" y="9346"/>
                </a:cubicBezTo>
                <a:cubicBezTo>
                  <a:pt x="3034538" y="11423"/>
                  <a:pt x="3035576" y="12461"/>
                  <a:pt x="3036614" y="13500"/>
                </a:cubicBezTo>
                <a:cubicBezTo>
                  <a:pt x="3039729" y="16615"/>
                  <a:pt x="3041805" y="20769"/>
                  <a:pt x="3043882" y="23884"/>
                </a:cubicBezTo>
                <a:cubicBezTo>
                  <a:pt x="3045958" y="25961"/>
                  <a:pt x="3046997" y="26999"/>
                  <a:pt x="3048035" y="29076"/>
                </a:cubicBezTo>
                <a:cubicBezTo>
                  <a:pt x="3052188" y="36345"/>
                  <a:pt x="3057379" y="42575"/>
                  <a:pt x="3061532" y="49844"/>
                </a:cubicBezTo>
                <a:cubicBezTo>
                  <a:pt x="3062571" y="50883"/>
                  <a:pt x="3063609" y="51921"/>
                  <a:pt x="3063609" y="52960"/>
                </a:cubicBezTo>
                <a:cubicBezTo>
                  <a:pt x="3068800" y="61267"/>
                  <a:pt x="3073991" y="69574"/>
                  <a:pt x="3079183" y="77882"/>
                </a:cubicBezTo>
                <a:cubicBezTo>
                  <a:pt x="3079183" y="77882"/>
                  <a:pt x="3079183" y="77882"/>
                  <a:pt x="3711481" y="1173416"/>
                </a:cubicBezTo>
                <a:cubicBezTo>
                  <a:pt x="3796618" y="1321911"/>
                  <a:pt x="3822574" y="1502596"/>
                  <a:pt x="3767547" y="1678089"/>
                </a:cubicBezTo>
                <a:cubicBezTo>
                  <a:pt x="3718748" y="1836968"/>
                  <a:pt x="3612846" y="1961578"/>
                  <a:pt x="3478911" y="2038421"/>
                </a:cubicBezTo>
                <a:cubicBezTo>
                  <a:pt x="3286834" y="2150571"/>
                  <a:pt x="3174702" y="2347871"/>
                  <a:pt x="3164320" y="2555555"/>
                </a:cubicBezTo>
                <a:cubicBezTo>
                  <a:pt x="3169511" y="2779854"/>
                  <a:pt x="3115522" y="3008307"/>
                  <a:pt x="2995084" y="3217030"/>
                </a:cubicBezTo>
                <a:cubicBezTo>
                  <a:pt x="2645191" y="3822429"/>
                  <a:pt x="1871691" y="4029075"/>
                  <a:pt x="1266387" y="3680166"/>
                </a:cubicBezTo>
                <a:cubicBezTo>
                  <a:pt x="874965" y="3453790"/>
                  <a:pt x="649663" y="3049844"/>
                  <a:pt x="634089" y="2629283"/>
                </a:cubicBezTo>
                <a:cubicBezTo>
                  <a:pt x="633051" y="2614745"/>
                  <a:pt x="633051" y="2601246"/>
                  <a:pt x="633051" y="2586708"/>
                </a:cubicBezTo>
                <a:cubicBezTo>
                  <a:pt x="633051" y="2403946"/>
                  <a:pt x="555182" y="2238837"/>
                  <a:pt x="430591" y="2123572"/>
                </a:cubicBezTo>
                <a:cubicBezTo>
                  <a:pt x="405673" y="2099688"/>
                  <a:pt x="377640" y="2077881"/>
                  <a:pt x="348569" y="2058151"/>
                </a:cubicBezTo>
                <a:cubicBezTo>
                  <a:pt x="347530" y="2058151"/>
                  <a:pt x="346492" y="2057113"/>
                  <a:pt x="345454" y="2056075"/>
                </a:cubicBezTo>
                <a:cubicBezTo>
                  <a:pt x="341301" y="2053998"/>
                  <a:pt x="337148" y="2050882"/>
                  <a:pt x="334033" y="2048806"/>
                </a:cubicBezTo>
                <a:cubicBezTo>
                  <a:pt x="328842" y="2045690"/>
                  <a:pt x="322612" y="2042575"/>
                  <a:pt x="317421" y="2039460"/>
                </a:cubicBezTo>
                <a:cubicBezTo>
                  <a:pt x="15288" y="1865005"/>
                  <a:pt x="-90614" y="1476635"/>
                  <a:pt x="84851" y="1173416"/>
                </a:cubicBezTo>
                <a:cubicBezTo>
                  <a:pt x="259279" y="871236"/>
                  <a:pt x="646548" y="767394"/>
                  <a:pt x="948681" y="941848"/>
                </a:cubicBezTo>
                <a:cubicBezTo>
                  <a:pt x="1042124" y="995846"/>
                  <a:pt x="1151141" y="1026999"/>
                  <a:pt x="1265349" y="1026999"/>
                </a:cubicBezTo>
                <a:cubicBezTo>
                  <a:pt x="1614203" y="1026999"/>
                  <a:pt x="1897647" y="744548"/>
                  <a:pt x="1897647" y="395639"/>
                </a:cubicBezTo>
                <a:cubicBezTo>
                  <a:pt x="1897647" y="253375"/>
                  <a:pt x="1946445" y="113188"/>
                  <a:pt x="2035735" y="0"/>
                </a:cubicBezTo>
                <a:close/>
              </a:path>
            </a:pathLst>
          </a:custGeom>
        </p:spPr>
        <p:txBody>
          <a:bodyPr wrap="square" tIns="21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013477F-ACAC-7B41-B204-AC139F13B7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486612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liquid shapes on a white background&#10;&#10;Description automatically generated">
            <a:extLst>
              <a:ext uri="{FF2B5EF4-FFF2-40B4-BE49-F238E27FC236}">
                <a16:creationId xmlns:a16="http://schemas.microsoft.com/office/drawing/2014/main" id="{A067476D-E3CA-C006-8AF2-F6334DF7B7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552" y="0"/>
            <a:ext cx="6251448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1514474"/>
            <a:ext cx="7272337" cy="4537075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B5FD5AC-2B1C-3D07-7A6B-8C2B010AE48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4838" y="385763"/>
            <a:ext cx="990600" cy="9906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900"/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321783-C6BA-4DE5-4340-9A18DBAE6DC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578392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E6770A-1D4D-AD1F-F2F7-085CEBCF79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33733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31338B-0823-6532-C45C-F95060AF7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984454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8B935A-2F64-9B30-B028-533AFFCD81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2897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GB"/>
              <a:t>Click icon to add tab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10CA66-7402-A280-D0B7-C8DFD634EA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258828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73A851-41FB-11CE-7794-1E1CC5D0D8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74719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4756F5-E04F-2BA5-26A1-9757F5EB3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2D8B0F-3A80-B787-FE16-946A10B6D4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8B688B-FBB8-CD07-EF8D-9DA22C9424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A9D521-56F9-8F08-37F9-6B843425322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DF4C10-1F67-55D5-BBE5-308B25F6CA3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5EFC1F0-9225-1E4E-B669-CED15EB1C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300395-9271-488F-86C4-5FEC6C905882}" type="datetimeFigureOut">
              <a:rPr lang="es-MX" smtClean="0"/>
              <a:t>10/09/2024</a:t>
            </a:fld>
            <a:endParaRPr lang="es-MX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F34F988-7CF8-484A-A7FC-7EC6F59E73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4DD277-7540-09CE-48B9-D5F3E4707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A463C-CDBA-4079-B6FD-839D1C64C1F9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19638656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338-020C-AD1A-58C0-1E2252F80F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788378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6095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lots on a white background&#10;&#10;Description automatically generated">
            <a:extLst>
              <a:ext uri="{FF2B5EF4-FFF2-40B4-BE49-F238E27FC236}">
                <a16:creationId xmlns:a16="http://schemas.microsoft.com/office/drawing/2014/main" id="{38AE2E2E-B5FC-5672-3429-3E8A6AB109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84" t="2925" r="9124" b="489"/>
          <a:stretch/>
        </p:blipFill>
        <p:spPr>
          <a:xfrm>
            <a:off x="4734046" y="-1"/>
            <a:ext cx="7457955" cy="685800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3562350" cy="228028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EDF5900-301D-289B-13AA-44A39C31E1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91423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Business Use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517319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Big Statement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328160" y="1828800"/>
            <a:ext cx="7254240" cy="414528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8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Business Use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609600" y="1828800"/>
            <a:ext cx="3474720" cy="35966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09600" y="5547360"/>
            <a:ext cx="347472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Optional picture cap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2992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721381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3811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604838" y="829854"/>
            <a:ext cx="11168062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1" baseline="0" dirty="0">
                <a:solidFill>
                  <a:schemeClr val="accent6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04838" y="61192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604838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04838" y="311086"/>
            <a:ext cx="11168062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3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4AEC59E-FBB5-7115-C88B-8C9D39E20B26}"/>
              </a:ext>
            </a:extLst>
          </p:cNvPr>
          <p:cNvSpPr txBox="1">
            <a:spLocks/>
          </p:cNvSpPr>
          <p:nvPr userDrawn="1"/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445867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8235173-3836-0F43-7EC3-57DD487DAF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235173-3836-0F43-7EC3-57DD487DA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438582"/>
          </a:xfrm>
        </p:spPr>
        <p:txBody>
          <a:bodyPr vert="horz" wrap="squar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338-020C-AD1A-58C0-1E2252F80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3" t="30565" r="5153" b="21054"/>
          <a:stretch/>
        </p:blipFill>
        <p:spPr bwMode="auto">
          <a:xfrm>
            <a:off x="590550" y="6328410"/>
            <a:ext cx="3083670" cy="31009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3. Subtitle" hidden="1">
            <a:extLst>
              <a:ext uri="{FF2B5EF4-FFF2-40B4-BE49-F238E27FC236}">
                <a16:creationId xmlns:a16="http://schemas.microsoft.com/office/drawing/2014/main" id="{8F780C52-48FD-7A6D-049C-527AEE7F201B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604838" y="805185"/>
            <a:ext cx="11168062" cy="276999"/>
          </a:xfrm>
        </p:spPr>
        <p:txBody>
          <a:bodyPr anchor="ctr" anchorCtr="0">
            <a:noAutofit/>
          </a:bodyPr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1DB09511-BEEE-AF38-E1B6-3063CE92DED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640254" y="606749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3" name="4. Footnote" hidden="1">
            <a:extLst>
              <a:ext uri="{FF2B5EF4-FFF2-40B4-BE49-F238E27FC236}">
                <a16:creationId xmlns:a16="http://schemas.microsoft.com/office/drawing/2014/main" id="{FCA916D5-ABC8-A97C-FCD7-D2613247691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39491" y="589283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5032615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4838" y="611926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04838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9F0ABF1-6106-10CE-35D1-01A298B4F6B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40F2CEE-11E8-2D69-85B6-90806244D5FF}"/>
              </a:ext>
            </a:extLst>
          </p:cNvPr>
          <p:cNvSpPr txBox="1">
            <a:spLocks/>
          </p:cNvSpPr>
          <p:nvPr userDrawn="1"/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47792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6218DE-B3EF-76A1-5846-C0CE5412B1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47982E-5A14-FDD1-E2B9-74E4E89A47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BA9F1C-2306-AF42-B6AF-A299C82B3F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E78BDC-169D-4E66-909B-E1C1AAD55B89}" type="datetimeFigureOut">
              <a:rPr lang="it-IT" smtClean="0"/>
              <a:t>10/09/2024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9761F7-AAAC-51B4-53BC-A79A983AE1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65BB47-271C-DD51-EFE7-8C43F35064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5C4F00-24C0-4071-B838-D082400FF9E1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3872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ED5CC-BEF2-CE8B-278B-25E2DA9E08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9DD284-8637-B098-3CA7-D09C5062E8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300395-9271-488F-86C4-5FEC6C905882}" type="datetimeFigureOut">
              <a:rPr lang="es-MX" smtClean="0"/>
              <a:t>10/09/2024</a:t>
            </a:fld>
            <a:endParaRPr lang="es-MX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9AB97A-EEB1-F0BE-D174-932D06101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CF5D27-E0DA-5A3F-0944-23B5123F0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A463C-CDBA-4079-B6FD-839D1C64C1F9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84537209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4">
  <p:cSld name="Quote Slide 4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Google Shape;90;p42" descr="A colorful gradient on a whit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608685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91" name="Google Shape;91;p42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" name="Google Shape;92;p42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3" name="Google Shape;93;p42"/>
          <p:cNvSpPr txBox="1">
            <a:spLocks noGrp="1"/>
          </p:cNvSpPr>
          <p:nvPr>
            <p:ph type="body" idx="1"/>
          </p:nvPr>
        </p:nvSpPr>
        <p:spPr>
          <a:xfrm>
            <a:off x="6143625" y="300038"/>
            <a:ext cx="5614985" cy="57515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 b="0">
                <a:solidFill>
                  <a:srgbClr val="002068"/>
                </a:solidFill>
              </a:defRPr>
            </a:lvl1pPr>
            <a:lvl2pPr marL="914400" lvl="1" indent="-228600" algn="l">
              <a:lnSpc>
                <a:spcPct val="95000"/>
              </a:lnSpc>
              <a:spcBef>
                <a:spcPts val="24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None/>
              <a:defRPr sz="1800" b="1">
                <a:solidFill>
                  <a:srgbClr val="0460A9"/>
                </a:solidFill>
              </a:defRPr>
            </a:lvl2pPr>
            <a:lvl3pPr marL="1371600" lvl="2" indent="-22860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1">
                <a:solidFill>
                  <a:srgbClr val="0460A9"/>
                </a:solidFill>
              </a:defRPr>
            </a:lvl3pPr>
            <a:lvl4pPr marL="1828800" lvl="3" indent="-22860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1">
                <a:solidFill>
                  <a:srgbClr val="0460A9"/>
                </a:solidFill>
              </a:defRPr>
            </a:lvl4pPr>
            <a:lvl5pPr marL="2286000" lvl="4" indent="-22860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1">
                <a:solidFill>
                  <a:srgbClr val="0460A9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42"/>
          <p:cNvSpPr>
            <a:spLocks noGrp="1"/>
          </p:cNvSpPr>
          <p:nvPr>
            <p:ph type="pic" idx="2"/>
          </p:nvPr>
        </p:nvSpPr>
        <p:spPr>
          <a:xfrm>
            <a:off x="0" y="0"/>
            <a:ext cx="5814479" cy="5895975"/>
          </a:xfrm>
          <a:prstGeom prst="rect">
            <a:avLst/>
          </a:prstGeom>
          <a:noFill/>
          <a:ln>
            <a:noFill/>
          </a:ln>
        </p:spPr>
      </p:sp>
      <p:pic>
        <p:nvPicPr>
          <p:cNvPr id="95" name="Google Shape;95;p4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9850867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43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43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43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0" name="Google Shape;100;p43"/>
          <p:cNvSpPr txBox="1">
            <a:spLocks noGrp="1"/>
          </p:cNvSpPr>
          <p:nvPr>
            <p:ph type="body" idx="1"/>
          </p:nvPr>
        </p:nvSpPr>
        <p:spPr>
          <a:xfrm>
            <a:off x="604838" y="5464175"/>
            <a:ext cx="9267825" cy="587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1" name="Google Shape;101;p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3861466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Text &amp; Chart">
  <p:cSld name="Title, Text &amp; Chart"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44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" name="Google Shape;104;p44"/>
          <p:cNvSpPr txBox="1">
            <a:spLocks noGrp="1"/>
          </p:cNvSpPr>
          <p:nvPr>
            <p:ph type="body" idx="1"/>
          </p:nvPr>
        </p:nvSpPr>
        <p:spPr>
          <a:xfrm>
            <a:off x="604839" y="1573619"/>
            <a:ext cx="4770000" cy="447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460A9"/>
              </a:buClr>
              <a:buSzPts val="1800"/>
              <a:buNone/>
              <a:defRPr/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44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44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7" name="Google Shape;107;p44"/>
          <p:cNvSpPr>
            <a:spLocks noGrp="1"/>
          </p:cNvSpPr>
          <p:nvPr>
            <p:ph type="chart" idx="2"/>
          </p:nvPr>
        </p:nvSpPr>
        <p:spPr>
          <a:xfrm>
            <a:off x="6310313" y="385763"/>
            <a:ext cx="5462587" cy="5665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460A9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460A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8" name="Google Shape;108;p44"/>
          <p:cNvSpPr txBox="1">
            <a:spLocks noGrp="1"/>
          </p:cNvSpPr>
          <p:nvPr>
            <p:ph type="body" idx="3"/>
          </p:nvPr>
        </p:nvSpPr>
        <p:spPr>
          <a:xfrm>
            <a:off x="604839" y="5464175"/>
            <a:ext cx="4770000" cy="587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9" name="Google Shape;109;p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3218890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71752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x Icons">
  <p:cSld name="Six Icons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46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" name="Google Shape;113;p46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46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5" name="Google Shape;115;p46"/>
          <p:cNvSpPr txBox="1">
            <a:spLocks noGrp="1"/>
          </p:cNvSpPr>
          <p:nvPr>
            <p:ph type="body" idx="1"/>
          </p:nvPr>
        </p:nvSpPr>
        <p:spPr>
          <a:xfrm>
            <a:off x="1830324" y="1564849"/>
            <a:ext cx="3562350" cy="12624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None/>
              <a:defRPr sz="1800"/>
            </a:lvl1pPr>
            <a:lvl2pPr marL="914400" lvl="1" indent="-2286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/>
            </a:lvl2pPr>
            <a:lvl3pPr marL="1371600" lvl="2" indent="-3429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3pPr>
            <a:lvl4pPr marL="1828800" lvl="3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4pPr>
            <a:lvl5pPr marL="2286000" lvl="4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46"/>
          <p:cNvSpPr txBox="1">
            <a:spLocks noGrp="1"/>
          </p:cNvSpPr>
          <p:nvPr>
            <p:ph type="body" idx="2"/>
          </p:nvPr>
        </p:nvSpPr>
        <p:spPr>
          <a:xfrm>
            <a:off x="1830324" y="3040144"/>
            <a:ext cx="3562350" cy="12624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None/>
              <a:defRPr sz="1800"/>
            </a:lvl1pPr>
            <a:lvl2pPr marL="914400" lvl="1" indent="-2286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/>
            </a:lvl2pPr>
            <a:lvl3pPr marL="1371600" lvl="2" indent="-3429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3pPr>
            <a:lvl4pPr marL="1828800" lvl="3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4pPr>
            <a:lvl5pPr marL="2286000" lvl="4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" name="Google Shape;117;p46"/>
          <p:cNvSpPr txBox="1">
            <a:spLocks noGrp="1"/>
          </p:cNvSpPr>
          <p:nvPr>
            <p:ph type="body" idx="3"/>
          </p:nvPr>
        </p:nvSpPr>
        <p:spPr>
          <a:xfrm>
            <a:off x="1830324" y="4688498"/>
            <a:ext cx="3562350" cy="12624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None/>
              <a:defRPr sz="1800"/>
            </a:lvl1pPr>
            <a:lvl2pPr marL="914400" lvl="1" indent="-2286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/>
            </a:lvl2pPr>
            <a:lvl3pPr marL="1371600" lvl="2" indent="-3429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3pPr>
            <a:lvl4pPr marL="1828800" lvl="3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4pPr>
            <a:lvl5pPr marL="2286000" lvl="4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46"/>
          <p:cNvSpPr txBox="1">
            <a:spLocks noGrp="1"/>
          </p:cNvSpPr>
          <p:nvPr>
            <p:ph type="body" idx="4"/>
          </p:nvPr>
        </p:nvSpPr>
        <p:spPr>
          <a:xfrm>
            <a:off x="7542968" y="1564849"/>
            <a:ext cx="3562350" cy="12624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None/>
              <a:defRPr sz="1800"/>
            </a:lvl1pPr>
            <a:lvl2pPr marL="914400" lvl="1" indent="-2286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/>
            </a:lvl2pPr>
            <a:lvl3pPr marL="1371600" lvl="2" indent="-3429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3pPr>
            <a:lvl4pPr marL="1828800" lvl="3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4pPr>
            <a:lvl5pPr marL="2286000" lvl="4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46"/>
          <p:cNvSpPr txBox="1">
            <a:spLocks noGrp="1"/>
          </p:cNvSpPr>
          <p:nvPr>
            <p:ph type="body" idx="5"/>
          </p:nvPr>
        </p:nvSpPr>
        <p:spPr>
          <a:xfrm>
            <a:off x="7542968" y="3040144"/>
            <a:ext cx="3562350" cy="12624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None/>
              <a:defRPr sz="1800"/>
            </a:lvl1pPr>
            <a:lvl2pPr marL="914400" lvl="1" indent="-2286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/>
            </a:lvl2pPr>
            <a:lvl3pPr marL="1371600" lvl="2" indent="-3429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3pPr>
            <a:lvl4pPr marL="1828800" lvl="3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4pPr>
            <a:lvl5pPr marL="2286000" lvl="4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46"/>
          <p:cNvSpPr txBox="1">
            <a:spLocks noGrp="1"/>
          </p:cNvSpPr>
          <p:nvPr>
            <p:ph type="body" idx="6"/>
          </p:nvPr>
        </p:nvSpPr>
        <p:spPr>
          <a:xfrm>
            <a:off x="7542968" y="4688498"/>
            <a:ext cx="3562350" cy="12624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None/>
              <a:defRPr sz="1800"/>
            </a:lvl1pPr>
            <a:lvl2pPr marL="914400" lvl="1" indent="-2286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/>
            </a:lvl2pPr>
            <a:lvl3pPr marL="1371600" lvl="2" indent="-3429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3pPr>
            <a:lvl4pPr marL="1828800" lvl="3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4pPr>
            <a:lvl5pPr marL="2286000" lvl="4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46"/>
          <p:cNvSpPr>
            <a:spLocks noGrp="1"/>
          </p:cNvSpPr>
          <p:nvPr>
            <p:ph type="pic" idx="7"/>
          </p:nvPr>
        </p:nvSpPr>
        <p:spPr>
          <a:xfrm>
            <a:off x="536400" y="1540800"/>
            <a:ext cx="1008000" cy="1008000"/>
          </a:xfrm>
          <a:prstGeom prst="rect">
            <a:avLst/>
          </a:prstGeom>
          <a:noFill/>
          <a:ln>
            <a:noFill/>
          </a:ln>
        </p:spPr>
      </p:sp>
      <p:sp>
        <p:nvSpPr>
          <p:cNvPr id="122" name="Google Shape;122;p46"/>
          <p:cNvSpPr>
            <a:spLocks noGrp="1"/>
          </p:cNvSpPr>
          <p:nvPr>
            <p:ph type="pic" idx="8"/>
          </p:nvPr>
        </p:nvSpPr>
        <p:spPr>
          <a:xfrm>
            <a:off x="536400" y="3016800"/>
            <a:ext cx="1008000" cy="1008000"/>
          </a:xfrm>
          <a:prstGeom prst="rect">
            <a:avLst/>
          </a:prstGeom>
          <a:noFill/>
          <a:ln>
            <a:noFill/>
          </a:ln>
        </p:spPr>
      </p:sp>
      <p:sp>
        <p:nvSpPr>
          <p:cNvPr id="123" name="Google Shape;123;p46"/>
          <p:cNvSpPr>
            <a:spLocks noGrp="1"/>
          </p:cNvSpPr>
          <p:nvPr>
            <p:ph type="pic" idx="9"/>
          </p:nvPr>
        </p:nvSpPr>
        <p:spPr>
          <a:xfrm>
            <a:off x="536400" y="4662000"/>
            <a:ext cx="1008000" cy="1008000"/>
          </a:xfrm>
          <a:prstGeom prst="rect">
            <a:avLst/>
          </a:prstGeom>
          <a:noFill/>
          <a:ln>
            <a:noFill/>
          </a:ln>
        </p:spPr>
      </p:sp>
      <p:sp>
        <p:nvSpPr>
          <p:cNvPr id="124" name="Google Shape;124;p46"/>
          <p:cNvSpPr>
            <a:spLocks noGrp="1"/>
          </p:cNvSpPr>
          <p:nvPr>
            <p:ph type="pic" idx="13"/>
          </p:nvPr>
        </p:nvSpPr>
        <p:spPr>
          <a:xfrm>
            <a:off x="6238800" y="1540800"/>
            <a:ext cx="1008000" cy="1008000"/>
          </a:xfrm>
          <a:prstGeom prst="rect">
            <a:avLst/>
          </a:prstGeom>
          <a:noFill/>
          <a:ln>
            <a:noFill/>
          </a:ln>
        </p:spPr>
      </p:sp>
      <p:sp>
        <p:nvSpPr>
          <p:cNvPr id="125" name="Google Shape;125;p46"/>
          <p:cNvSpPr>
            <a:spLocks noGrp="1"/>
          </p:cNvSpPr>
          <p:nvPr>
            <p:ph type="pic" idx="14"/>
          </p:nvPr>
        </p:nvSpPr>
        <p:spPr>
          <a:xfrm>
            <a:off x="6238800" y="3016800"/>
            <a:ext cx="1008000" cy="1008000"/>
          </a:xfrm>
          <a:prstGeom prst="rect">
            <a:avLst/>
          </a:prstGeom>
          <a:noFill/>
          <a:ln>
            <a:noFill/>
          </a:ln>
        </p:spPr>
      </p:sp>
      <p:sp>
        <p:nvSpPr>
          <p:cNvPr id="126" name="Google Shape;126;p46"/>
          <p:cNvSpPr>
            <a:spLocks noGrp="1"/>
          </p:cNvSpPr>
          <p:nvPr>
            <p:ph type="pic" idx="15"/>
          </p:nvPr>
        </p:nvSpPr>
        <p:spPr>
          <a:xfrm>
            <a:off x="6238800" y="4662000"/>
            <a:ext cx="1008000" cy="1008000"/>
          </a:xfrm>
          <a:prstGeom prst="rect">
            <a:avLst/>
          </a:prstGeom>
          <a:noFill/>
          <a:ln>
            <a:noFill/>
          </a:ln>
        </p:spPr>
      </p:sp>
      <p:pic>
        <p:nvPicPr>
          <p:cNvPr id="127" name="Google Shape;127;p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159019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ull Width Content" type="obj">
  <p:cSld name="Title and Full Width Content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47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" name="Google Shape;130;p47"/>
          <p:cNvSpPr txBox="1"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460A9"/>
              </a:buClr>
              <a:buSzPts val="1800"/>
              <a:buNone/>
              <a:defRPr/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47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47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33" name="Google Shape;133;p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5884731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 blanco" type="blank">
  <p:cSld name="En blanco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4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3" name="Google Shape;143;p49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49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267224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7">
  <p:cSld name="Title Slide 7"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6" name="Google Shape;146;p38" descr="A yellow and orange liqui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44400" y="-9426"/>
            <a:ext cx="7061127" cy="6868800"/>
          </a:xfrm>
          <a:prstGeom prst="rect">
            <a:avLst/>
          </a:prstGeom>
          <a:noFill/>
          <a:ln>
            <a:noFill/>
          </a:ln>
        </p:spPr>
      </p:pic>
      <p:sp>
        <p:nvSpPr>
          <p:cNvPr id="147" name="Google Shape;147;p38"/>
          <p:cNvSpPr>
            <a:spLocks noGrp="1"/>
          </p:cNvSpPr>
          <p:nvPr>
            <p:ph type="pic" idx="2"/>
          </p:nvPr>
        </p:nvSpPr>
        <p:spPr>
          <a:xfrm>
            <a:off x="5279010" y="-1491"/>
            <a:ext cx="6912990" cy="6250312"/>
          </a:xfrm>
          <a:prstGeom prst="rect">
            <a:avLst/>
          </a:prstGeom>
          <a:noFill/>
          <a:ln>
            <a:noFill/>
          </a:ln>
        </p:spPr>
      </p:sp>
      <p:sp>
        <p:nvSpPr>
          <p:cNvPr id="148" name="Google Shape;148;p38"/>
          <p:cNvSpPr txBox="1">
            <a:spLocks noGrp="1"/>
          </p:cNvSpPr>
          <p:nvPr>
            <p:ph type="ctrTitle"/>
          </p:nvPr>
        </p:nvSpPr>
        <p:spPr>
          <a:xfrm>
            <a:off x="604838" y="1376363"/>
            <a:ext cx="4848568" cy="2276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38"/>
          <p:cNvSpPr txBox="1"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None/>
              <a:defRPr sz="2000"/>
            </a:lvl1pPr>
            <a:lvl2pPr lvl="1" algn="ctr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/>
            </a:lvl2pPr>
            <a:lvl3pPr lvl="2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0" name="Google Shape;150;p38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38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2" name="Google Shape;152;p38"/>
          <p:cNvSpPr/>
          <p:nvPr/>
        </p:nvSpPr>
        <p:spPr>
          <a:xfrm>
            <a:off x="5057775" y="0"/>
            <a:ext cx="7134225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3" name="Google Shape;153;p3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32745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>
  <p:cSld name="Title Slide 1"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" name="Google Shape;155;p1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  <p:sp>
        <p:nvSpPr>
          <p:cNvPr id="156" name="Google Shape;156;p102"/>
          <p:cNvSpPr txBox="1">
            <a:spLocks noGrp="1"/>
          </p:cNvSpPr>
          <p:nvPr>
            <p:ph type="ctrTitle"/>
          </p:nvPr>
        </p:nvSpPr>
        <p:spPr>
          <a:xfrm>
            <a:off x="604838" y="1376363"/>
            <a:ext cx="4848568" cy="2276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p102"/>
          <p:cNvSpPr txBox="1">
            <a:spLocks noGrp="1"/>
          </p:cNvSpPr>
          <p:nvPr>
            <p:ph type="subTitle" idx="1"/>
          </p:nvPr>
        </p:nvSpPr>
        <p:spPr>
          <a:xfrm>
            <a:off x="604838" y="3990974"/>
            <a:ext cx="4400795" cy="10477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None/>
              <a:defRPr sz="2000"/>
            </a:lvl1pPr>
            <a:lvl2pPr lvl="1" algn="ctr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/>
            </a:lvl2pPr>
            <a:lvl3pPr lvl="2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8" name="Google Shape;158;p102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" name="Google Shape;159;p102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0" name="Google Shape;160;p102"/>
          <p:cNvSpPr>
            <a:spLocks noGrp="1"/>
          </p:cNvSpPr>
          <p:nvPr>
            <p:ph type="pic" idx="2"/>
          </p:nvPr>
        </p:nvSpPr>
        <p:spPr>
          <a:xfrm>
            <a:off x="5521619" y="0"/>
            <a:ext cx="6670381" cy="68580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182650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2">
  <p:cSld name="Title Slide 2"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103"/>
          <p:cNvSpPr txBox="1">
            <a:spLocks noGrp="1"/>
          </p:cNvSpPr>
          <p:nvPr>
            <p:ph type="ctrTitle"/>
          </p:nvPr>
        </p:nvSpPr>
        <p:spPr>
          <a:xfrm>
            <a:off x="604837" y="1376363"/>
            <a:ext cx="4857995" cy="2276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" name="Google Shape;163;p103"/>
          <p:cNvSpPr txBox="1">
            <a:spLocks noGrp="1"/>
          </p:cNvSpPr>
          <p:nvPr>
            <p:ph type="subTitle" idx="1"/>
          </p:nvPr>
        </p:nvSpPr>
        <p:spPr>
          <a:xfrm>
            <a:off x="604838" y="3990974"/>
            <a:ext cx="4702062" cy="10477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None/>
              <a:defRPr sz="2000"/>
            </a:lvl1pPr>
            <a:lvl2pPr lvl="1" algn="ctr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/>
            </a:lvl2pPr>
            <a:lvl3pPr lvl="2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4" name="Google Shape;164;p103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103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6" name="Google Shape;166;p103"/>
          <p:cNvSpPr>
            <a:spLocks noGrp="1"/>
          </p:cNvSpPr>
          <p:nvPr>
            <p:ph type="pic" idx="2"/>
          </p:nvPr>
        </p:nvSpPr>
        <p:spPr>
          <a:xfrm>
            <a:off x="5665509" y="184019"/>
            <a:ext cx="6526491" cy="6670835"/>
          </a:xfrm>
          <a:prstGeom prst="rect">
            <a:avLst/>
          </a:prstGeom>
          <a:noFill/>
          <a:ln>
            <a:noFill/>
          </a:ln>
        </p:spPr>
      </p:sp>
      <p:pic>
        <p:nvPicPr>
          <p:cNvPr id="167" name="Google Shape;167;p1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0435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1515E5F-95CD-F9FE-1911-E5F63F0D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300395-9271-488F-86C4-5FEC6C905882}" type="datetimeFigureOut">
              <a:rPr lang="es-MX" smtClean="0"/>
              <a:t>10/09/2024</a:t>
            </a:fld>
            <a:endParaRPr lang="es-MX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A68A06-BD97-F230-8A9A-024B26CFF8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A11F60-C5FD-58B7-A6E8-C50004A84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A463C-CDBA-4079-B6FD-839D1C64C1F9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52560155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3">
  <p:cSld name="Title Slide 3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104"/>
          <p:cNvSpPr>
            <a:spLocks noGrp="1"/>
          </p:cNvSpPr>
          <p:nvPr>
            <p:ph type="pic" idx="2"/>
          </p:nvPr>
        </p:nvSpPr>
        <p:spPr>
          <a:xfrm>
            <a:off x="4788530" y="-1"/>
            <a:ext cx="7403470" cy="6858000"/>
          </a:xfrm>
          <a:prstGeom prst="rect">
            <a:avLst/>
          </a:prstGeom>
          <a:noFill/>
          <a:ln>
            <a:noFill/>
          </a:ln>
        </p:spPr>
      </p:sp>
      <p:sp>
        <p:nvSpPr>
          <p:cNvPr id="170" name="Google Shape;170;p104"/>
          <p:cNvSpPr txBox="1">
            <a:spLocks noGrp="1"/>
          </p:cNvSpPr>
          <p:nvPr>
            <p:ph type="ctrTitle"/>
          </p:nvPr>
        </p:nvSpPr>
        <p:spPr>
          <a:xfrm>
            <a:off x="604837" y="1376363"/>
            <a:ext cx="4872135" cy="2276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104"/>
          <p:cNvSpPr txBox="1"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None/>
              <a:defRPr sz="2000"/>
            </a:lvl1pPr>
            <a:lvl2pPr lvl="1" algn="ctr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/>
            </a:lvl2pPr>
            <a:lvl3pPr lvl="2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2" name="Google Shape;172;p104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" name="Google Shape;173;p104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4" name="Google Shape;174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95436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4">
  <p:cSld name="Title Slide 4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105"/>
          <p:cNvSpPr>
            <a:spLocks noGrp="1"/>
          </p:cNvSpPr>
          <p:nvPr>
            <p:ph type="pic" idx="2"/>
          </p:nvPr>
        </p:nvSpPr>
        <p:spPr>
          <a:xfrm>
            <a:off x="6038111" y="-1"/>
            <a:ext cx="6153889" cy="6858000"/>
          </a:xfrm>
          <a:prstGeom prst="rect">
            <a:avLst/>
          </a:prstGeom>
          <a:noFill/>
          <a:ln>
            <a:noFill/>
          </a:ln>
        </p:spPr>
      </p:sp>
      <p:sp>
        <p:nvSpPr>
          <p:cNvPr id="177" name="Google Shape;177;p105"/>
          <p:cNvSpPr txBox="1">
            <a:spLocks noGrp="1"/>
          </p:cNvSpPr>
          <p:nvPr>
            <p:ph type="ctrTitle"/>
          </p:nvPr>
        </p:nvSpPr>
        <p:spPr>
          <a:xfrm>
            <a:off x="604837" y="1376363"/>
            <a:ext cx="4966403" cy="2276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105"/>
          <p:cNvSpPr txBox="1">
            <a:spLocks noGrp="1"/>
          </p:cNvSpPr>
          <p:nvPr>
            <p:ph type="subTitle" idx="1"/>
          </p:nvPr>
        </p:nvSpPr>
        <p:spPr>
          <a:xfrm>
            <a:off x="604838" y="3990974"/>
            <a:ext cx="4966402" cy="10477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None/>
              <a:defRPr sz="2000"/>
            </a:lvl1pPr>
            <a:lvl2pPr lvl="1" algn="ctr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/>
            </a:lvl2pPr>
            <a:lvl3pPr lvl="2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9" name="Google Shape;179;p105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" name="Google Shape;180;p105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81" name="Google Shape;181;p1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9793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5">
  <p:cSld name="Title Slide 5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106"/>
          <p:cNvSpPr>
            <a:spLocks noGrp="1"/>
          </p:cNvSpPr>
          <p:nvPr>
            <p:ph type="pic" idx="2"/>
          </p:nvPr>
        </p:nvSpPr>
        <p:spPr>
          <a:xfrm>
            <a:off x="3224163" y="-1"/>
            <a:ext cx="8967837" cy="6858000"/>
          </a:xfrm>
          <a:prstGeom prst="rect">
            <a:avLst/>
          </a:prstGeom>
          <a:noFill/>
          <a:ln>
            <a:noFill/>
          </a:ln>
        </p:spPr>
      </p:sp>
      <p:sp>
        <p:nvSpPr>
          <p:cNvPr id="184" name="Google Shape;184;p106"/>
          <p:cNvSpPr txBox="1"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" name="Google Shape;185;p106"/>
          <p:cNvSpPr txBox="1">
            <a:spLocks noGrp="1"/>
          </p:cNvSpPr>
          <p:nvPr>
            <p:ph type="subTitle" idx="1"/>
          </p:nvPr>
        </p:nvSpPr>
        <p:spPr>
          <a:xfrm>
            <a:off x="604838" y="3996665"/>
            <a:ext cx="5465762" cy="10477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None/>
              <a:defRPr sz="2000"/>
            </a:lvl1pPr>
            <a:lvl2pPr lvl="1" algn="ctr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/>
            </a:lvl2pPr>
            <a:lvl3pPr lvl="2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6" name="Google Shape;186;p106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p106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88" name="Google Shape;188;p1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40071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6">
  <p:cSld name="Title Slide 6"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p107"/>
          <p:cNvSpPr>
            <a:spLocks noGrp="1"/>
          </p:cNvSpPr>
          <p:nvPr>
            <p:ph type="pic" idx="2"/>
          </p:nvPr>
        </p:nvSpPr>
        <p:spPr>
          <a:xfrm>
            <a:off x="5587031" y="0"/>
            <a:ext cx="6604969" cy="6858000"/>
          </a:xfrm>
          <a:prstGeom prst="rect">
            <a:avLst/>
          </a:prstGeom>
          <a:noFill/>
          <a:ln>
            <a:noFill/>
          </a:ln>
        </p:spPr>
      </p:sp>
      <p:sp>
        <p:nvSpPr>
          <p:cNvPr id="191" name="Google Shape;191;p107"/>
          <p:cNvSpPr txBox="1">
            <a:spLocks noGrp="1"/>
          </p:cNvSpPr>
          <p:nvPr>
            <p:ph type="ctrTitle"/>
          </p:nvPr>
        </p:nvSpPr>
        <p:spPr>
          <a:xfrm>
            <a:off x="604838" y="1376363"/>
            <a:ext cx="4702062" cy="2276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" name="Google Shape;192;p107"/>
          <p:cNvSpPr txBox="1">
            <a:spLocks noGrp="1"/>
          </p:cNvSpPr>
          <p:nvPr>
            <p:ph type="subTitle" idx="1"/>
          </p:nvPr>
        </p:nvSpPr>
        <p:spPr>
          <a:xfrm>
            <a:off x="604838" y="3990974"/>
            <a:ext cx="4702062" cy="10477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None/>
              <a:defRPr sz="2000"/>
            </a:lvl1pPr>
            <a:lvl2pPr lvl="1" algn="ctr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/>
            </a:lvl2pPr>
            <a:lvl3pPr lvl="2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93" name="Google Shape;193;p107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" name="Google Shape;194;p107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95" name="Google Shape;195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85897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8">
  <p:cSld name="Title Slide 8"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108"/>
          <p:cNvSpPr txBox="1">
            <a:spLocks noGrp="1"/>
          </p:cNvSpPr>
          <p:nvPr>
            <p:ph type="ctrTitle"/>
          </p:nvPr>
        </p:nvSpPr>
        <p:spPr>
          <a:xfrm>
            <a:off x="604838" y="1376363"/>
            <a:ext cx="4612898" cy="2276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" name="Google Shape;198;p108"/>
          <p:cNvSpPr txBox="1"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None/>
              <a:defRPr sz="2000"/>
            </a:lvl1pPr>
            <a:lvl2pPr lvl="1" algn="ctr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/>
            </a:lvl2pPr>
            <a:lvl3pPr lvl="2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99" name="Google Shape;199;p108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0" name="Google Shape;200;p108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01" name="Google Shape;201;p108" descr="A colorful logo with a whit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352288" y="0"/>
            <a:ext cx="683971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2" name="Google Shape;202;p10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</p:spPr>
      </p:pic>
      <p:pic>
        <p:nvPicPr>
          <p:cNvPr id="203" name="Google Shape;203;p10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2185650" y="3175"/>
            <a:ext cx="4762" cy="2357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204" name="Google Shape;204;p10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</p:spPr>
      </p:pic>
      <p:pic>
        <p:nvPicPr>
          <p:cNvPr id="205" name="Google Shape;205;p10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091488" y="3175"/>
            <a:ext cx="4763" cy="2357438"/>
          </a:xfrm>
          <a:prstGeom prst="rect">
            <a:avLst/>
          </a:prstGeom>
          <a:noFill/>
          <a:ln>
            <a:noFill/>
          </a:ln>
        </p:spPr>
      </p:pic>
      <p:sp>
        <p:nvSpPr>
          <p:cNvPr id="206" name="Google Shape;206;p108"/>
          <p:cNvSpPr>
            <a:spLocks noGrp="1"/>
          </p:cNvSpPr>
          <p:nvPr>
            <p:ph type="pic" idx="2"/>
          </p:nvPr>
        </p:nvSpPr>
        <p:spPr>
          <a:xfrm>
            <a:off x="8277225" y="1211149"/>
            <a:ext cx="3914775" cy="5645475"/>
          </a:xfrm>
          <a:prstGeom prst="rect">
            <a:avLst/>
          </a:prstGeom>
          <a:noFill/>
          <a:ln>
            <a:noFill/>
          </a:ln>
        </p:spPr>
      </p:sp>
      <p:pic>
        <p:nvPicPr>
          <p:cNvPr id="207" name="Google Shape;207;p10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11477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9">
  <p:cSld name="Title Slide 9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109"/>
          <p:cNvSpPr txBox="1"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0" name="Google Shape;210;p109"/>
          <p:cNvSpPr txBox="1"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None/>
              <a:defRPr sz="2000"/>
            </a:lvl1pPr>
            <a:lvl2pPr lvl="1" algn="ctr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/>
            </a:lvl2pPr>
            <a:lvl3pPr lvl="2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11" name="Google Shape;211;p109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2" name="Google Shape;212;p109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13" name="Google Shape;213;p109" descr="A blue and white 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714232" y="0"/>
            <a:ext cx="347776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4" name="Google Shape;214;p109"/>
          <p:cNvSpPr>
            <a:spLocks noGrp="1"/>
          </p:cNvSpPr>
          <p:nvPr>
            <p:ph type="pic" idx="2"/>
          </p:nvPr>
        </p:nvSpPr>
        <p:spPr>
          <a:xfrm>
            <a:off x="5492700" y="0"/>
            <a:ext cx="6704013" cy="6858000"/>
          </a:xfrm>
          <a:prstGeom prst="rect">
            <a:avLst/>
          </a:prstGeom>
          <a:noFill/>
          <a:ln>
            <a:noFill/>
          </a:ln>
        </p:spPr>
      </p:sp>
      <p:pic>
        <p:nvPicPr>
          <p:cNvPr id="215" name="Google Shape;215;p10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0301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0">
  <p:cSld name="Title Slide 10"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110"/>
          <p:cNvSpPr txBox="1">
            <a:spLocks noGrp="1"/>
          </p:cNvSpPr>
          <p:nvPr>
            <p:ph type="ctrTitle"/>
          </p:nvPr>
        </p:nvSpPr>
        <p:spPr>
          <a:xfrm>
            <a:off x="604838" y="1376363"/>
            <a:ext cx="5040000" cy="2276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8" name="Google Shape;218;p110"/>
          <p:cNvSpPr txBox="1">
            <a:spLocks noGrp="1"/>
          </p:cNvSpPr>
          <p:nvPr>
            <p:ph type="subTitle" idx="1"/>
          </p:nvPr>
        </p:nvSpPr>
        <p:spPr>
          <a:xfrm>
            <a:off x="604838" y="3990974"/>
            <a:ext cx="5040000" cy="10477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None/>
              <a:defRPr sz="2000"/>
            </a:lvl1pPr>
            <a:lvl2pPr lvl="1" algn="ctr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/>
            </a:lvl2pPr>
            <a:lvl3pPr lvl="2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19" name="Google Shape;219;p110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0" name="Google Shape;220;p110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21" name="Google Shape;221;p110" descr="A colorful shapes on a black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968822" y="-4713"/>
            <a:ext cx="6232604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2" name="Google Shape;222;p11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58212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1">
  <p:cSld name="Title Slide 11"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4" name="Google Shape;224;p111" descr="A colorful shapes on a black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633910" y="-18852"/>
            <a:ext cx="7559026" cy="6876000"/>
          </a:xfrm>
          <a:prstGeom prst="rect">
            <a:avLst/>
          </a:prstGeom>
          <a:noFill/>
          <a:ln>
            <a:noFill/>
          </a:ln>
        </p:spPr>
      </p:pic>
      <p:sp>
        <p:nvSpPr>
          <p:cNvPr id="225" name="Google Shape;225;p111"/>
          <p:cNvSpPr txBox="1">
            <a:spLocks noGrp="1"/>
          </p:cNvSpPr>
          <p:nvPr>
            <p:ph type="ctrTitle"/>
          </p:nvPr>
        </p:nvSpPr>
        <p:spPr>
          <a:xfrm>
            <a:off x="604838" y="1376363"/>
            <a:ext cx="3802062" cy="2276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6" name="Google Shape;226;p111"/>
          <p:cNvSpPr txBox="1"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None/>
              <a:defRPr sz="2000"/>
            </a:lvl1pPr>
            <a:lvl2pPr lvl="1" algn="ctr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/>
            </a:lvl2pPr>
            <a:lvl3pPr lvl="2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27" name="Google Shape;227;p111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" name="Google Shape;228;p111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29" name="Google Shape;229;p1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270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ntent">
  <p:cSld name="Title and Two Content"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112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" name="Google Shape;232;p112"/>
          <p:cNvSpPr txBox="1">
            <a:spLocks noGrp="1"/>
          </p:cNvSpPr>
          <p:nvPr>
            <p:ph type="body" idx="1"/>
          </p:nvPr>
        </p:nvSpPr>
        <p:spPr>
          <a:xfrm>
            <a:off x="604839" y="1573619"/>
            <a:ext cx="5465762" cy="447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460A9"/>
              </a:buClr>
              <a:buSzPts val="1800"/>
              <a:buNone/>
              <a:defRPr/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3" name="Google Shape;233;p112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4" name="Google Shape;234;p112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5" name="Google Shape;235;p112"/>
          <p:cNvSpPr txBox="1">
            <a:spLocks noGrp="1"/>
          </p:cNvSpPr>
          <p:nvPr>
            <p:ph type="body" idx="2"/>
          </p:nvPr>
        </p:nvSpPr>
        <p:spPr>
          <a:xfrm>
            <a:off x="6310313" y="1573619"/>
            <a:ext cx="5465762" cy="447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460A9"/>
              </a:buClr>
              <a:buSzPts val="1800"/>
              <a:buNone/>
              <a:defRPr/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6" name="Google Shape;236;p112"/>
          <p:cNvSpPr txBox="1">
            <a:spLocks noGrp="1"/>
          </p:cNvSpPr>
          <p:nvPr>
            <p:ph type="body" idx="3"/>
          </p:nvPr>
        </p:nvSpPr>
        <p:spPr>
          <a:xfrm>
            <a:off x="604838" y="5464175"/>
            <a:ext cx="9267825" cy="587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37" name="Google Shape;237;p1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721759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ntent">
  <p:cSld name="Title and Three Content"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113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" name="Google Shape;240;p113"/>
          <p:cNvSpPr txBox="1">
            <a:spLocks noGrp="1"/>
          </p:cNvSpPr>
          <p:nvPr>
            <p:ph type="body" idx="1"/>
          </p:nvPr>
        </p:nvSpPr>
        <p:spPr>
          <a:xfrm>
            <a:off x="604839" y="1573619"/>
            <a:ext cx="3562350" cy="447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None/>
              <a:defRPr sz="1800"/>
            </a:lvl1pPr>
            <a:lvl2pPr marL="914400" lvl="1" indent="-2286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/>
            </a:lvl2pPr>
            <a:lvl3pPr marL="1371600" lvl="2" indent="-3429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3pPr>
            <a:lvl4pPr marL="1828800" lvl="3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4pPr>
            <a:lvl5pPr marL="2286000" lvl="4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1" name="Google Shape;241;p113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" name="Google Shape;242;p113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3" name="Google Shape;243;p113"/>
          <p:cNvSpPr txBox="1">
            <a:spLocks noGrp="1"/>
          </p:cNvSpPr>
          <p:nvPr>
            <p:ph type="body" idx="2"/>
          </p:nvPr>
        </p:nvSpPr>
        <p:spPr>
          <a:xfrm>
            <a:off x="4406900" y="1573619"/>
            <a:ext cx="3562350" cy="447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None/>
              <a:defRPr sz="1800"/>
            </a:lvl1pPr>
            <a:lvl2pPr marL="914400" lvl="1" indent="-2286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/>
            </a:lvl2pPr>
            <a:lvl3pPr marL="1371600" lvl="2" indent="-3429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3pPr>
            <a:lvl4pPr marL="1828800" lvl="3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4pPr>
            <a:lvl5pPr marL="2286000" lvl="4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4" name="Google Shape;244;p113"/>
          <p:cNvSpPr txBox="1">
            <a:spLocks noGrp="1"/>
          </p:cNvSpPr>
          <p:nvPr>
            <p:ph type="body" idx="3"/>
          </p:nvPr>
        </p:nvSpPr>
        <p:spPr>
          <a:xfrm>
            <a:off x="8204626" y="1573619"/>
            <a:ext cx="3562350" cy="447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None/>
              <a:defRPr sz="1800"/>
            </a:lvl1pPr>
            <a:lvl2pPr marL="914400" lvl="1" indent="-2286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/>
            </a:lvl2pPr>
            <a:lvl3pPr marL="1371600" lvl="2" indent="-3429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3pPr>
            <a:lvl4pPr marL="1828800" lvl="3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4pPr>
            <a:lvl5pPr marL="2286000" lvl="4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5" name="Google Shape;245;p113"/>
          <p:cNvSpPr txBox="1">
            <a:spLocks noGrp="1"/>
          </p:cNvSpPr>
          <p:nvPr>
            <p:ph type="body" idx="4"/>
          </p:nvPr>
        </p:nvSpPr>
        <p:spPr>
          <a:xfrm>
            <a:off x="604838" y="5464175"/>
            <a:ext cx="9267825" cy="587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46" name="Google Shape;246;p1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79982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42E9B-16FA-24ED-6D54-0E5E33D17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D91108-D48C-0692-9D44-883A277925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2C56FD-B56B-1148-FA39-1EE9FEF0E4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EAEB25-5C2B-1FB9-5211-107A282AC8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300395-9271-488F-86C4-5FEC6C905882}" type="datetimeFigureOut">
              <a:rPr lang="es-MX" smtClean="0"/>
              <a:t>10/09/2024</a:t>
            </a:fld>
            <a:endParaRPr lang="es-MX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674AF1-35C6-6289-3E47-254BD0CF46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9A974D-BF2F-F3B4-F1E3-5DFD34B05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A463C-CDBA-4079-B6FD-839D1C64C1F9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8913959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1">
  <p:cSld name="Section Divider 1"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8" name="Google Shape;248;p114" descr="A colorful blots on a whit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5" y="0"/>
            <a:ext cx="1218996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49" name="Google Shape;249;p114"/>
          <p:cNvSpPr txBox="1">
            <a:spLocks noGrp="1"/>
          </p:cNvSpPr>
          <p:nvPr>
            <p:ph type="ctrTitle"/>
          </p:nvPr>
        </p:nvSpPr>
        <p:spPr>
          <a:xfrm>
            <a:off x="604838" y="1547446"/>
            <a:ext cx="5040000" cy="1145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" name="Google Shape;250;p114"/>
          <p:cNvSpPr txBox="1">
            <a:spLocks noGrp="1"/>
          </p:cNvSpPr>
          <p:nvPr>
            <p:ph type="subTitle" idx="1"/>
          </p:nvPr>
        </p:nvSpPr>
        <p:spPr>
          <a:xfrm>
            <a:off x="604838" y="2803490"/>
            <a:ext cx="5040000" cy="10096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None/>
              <a:defRPr sz="2000"/>
            </a:lvl1pPr>
            <a:lvl2pPr lvl="1" algn="ctr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/>
            </a:lvl2pPr>
            <a:lvl3pPr lvl="2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51" name="Google Shape;251;p114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2" name="Google Shape;252;p114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53" name="Google Shape;253;p114"/>
          <p:cNvSpPr txBox="1">
            <a:spLocks noGrp="1"/>
          </p:cNvSpPr>
          <p:nvPr>
            <p:ph type="body" idx="2"/>
          </p:nvPr>
        </p:nvSpPr>
        <p:spPr>
          <a:xfrm>
            <a:off x="10062644" y="166948"/>
            <a:ext cx="2030412" cy="13872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2068"/>
              </a:buClr>
              <a:buSzPts val="9600"/>
              <a:buFont typeface="Arial"/>
              <a:buNone/>
              <a:defRPr sz="9600" b="0">
                <a:solidFill>
                  <a:srgbClr val="002068"/>
                </a:solidFill>
              </a:defRPr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54" name="Google Shape;254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7758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ction Divider 1">
  <p:cSld name="1_Section Divider 1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" name="Google Shape;256;p115" descr="A colorful background with circles&#10;&#10;Description automatically generated with medium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41240" y="0"/>
            <a:ext cx="1005230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7" name="Google Shape;257;p115"/>
          <p:cNvSpPr txBox="1"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8" name="Google Shape;258;p115"/>
          <p:cNvSpPr txBox="1"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None/>
              <a:defRPr sz="2000"/>
            </a:lvl1pPr>
            <a:lvl2pPr lvl="1" algn="ctr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/>
            </a:lvl2pPr>
            <a:lvl3pPr lvl="2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59" name="Google Shape;259;p115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0" name="Google Shape;260;p115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61" name="Google Shape;261;p115"/>
          <p:cNvSpPr txBox="1">
            <a:spLocks noGrp="1"/>
          </p:cNvSpPr>
          <p:nvPr>
            <p:ph type="body" idx="2"/>
          </p:nvPr>
        </p:nvSpPr>
        <p:spPr>
          <a:xfrm>
            <a:off x="10062644" y="166948"/>
            <a:ext cx="2030412" cy="13872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2068"/>
              </a:buClr>
              <a:buSzPts val="9600"/>
              <a:buFont typeface="Arial"/>
              <a:buNone/>
              <a:defRPr sz="9600" b="0">
                <a:solidFill>
                  <a:srgbClr val="002068"/>
                </a:solidFill>
              </a:defRPr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62" name="Google Shape;262;p1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69922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Text &amp; Image [Right]">
  <p:cSld name="Title, Text &amp; Image [Right]">
    <p:spTree>
      <p:nvGrpSpPr>
        <p:cNvPr id="1" name="Shape 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4" name="Google Shape;264;p116" descr="A yellow and orange gradien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b="225"/>
          <a:stretch/>
        </p:blipFill>
        <p:spPr>
          <a:xfrm>
            <a:off x="8986074" y="-9527"/>
            <a:ext cx="3207600" cy="6867527"/>
          </a:xfrm>
          <a:prstGeom prst="rect">
            <a:avLst/>
          </a:prstGeom>
          <a:noFill/>
          <a:ln>
            <a:noFill/>
          </a:ln>
        </p:spPr>
      </p:pic>
      <p:sp>
        <p:nvSpPr>
          <p:cNvPr id="265" name="Google Shape;265;p116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6" name="Google Shape;266;p116"/>
          <p:cNvSpPr txBox="1">
            <a:spLocks noGrp="1"/>
          </p:cNvSpPr>
          <p:nvPr>
            <p:ph type="body" idx="1"/>
          </p:nvPr>
        </p:nvSpPr>
        <p:spPr>
          <a:xfrm>
            <a:off x="604839" y="1573619"/>
            <a:ext cx="4770000" cy="447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460A9"/>
              </a:buClr>
              <a:buSzPts val="1800"/>
              <a:buNone/>
              <a:defRPr/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7" name="Google Shape;267;p116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116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69" name="Google Shape;269;p116"/>
          <p:cNvSpPr txBox="1">
            <a:spLocks noGrp="1"/>
          </p:cNvSpPr>
          <p:nvPr>
            <p:ph type="body" idx="2"/>
          </p:nvPr>
        </p:nvSpPr>
        <p:spPr>
          <a:xfrm>
            <a:off x="10101263" y="4004310"/>
            <a:ext cx="1671637" cy="20783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0" name="Google Shape;270;p116"/>
          <p:cNvSpPr>
            <a:spLocks noGrp="1"/>
          </p:cNvSpPr>
          <p:nvPr>
            <p:ph type="pic" idx="3"/>
          </p:nvPr>
        </p:nvSpPr>
        <p:spPr>
          <a:xfrm>
            <a:off x="6330324" y="0"/>
            <a:ext cx="5861676" cy="6858000"/>
          </a:xfrm>
          <a:prstGeom prst="rect">
            <a:avLst/>
          </a:prstGeom>
          <a:noFill/>
          <a:ln>
            <a:noFill/>
          </a:ln>
        </p:spPr>
      </p:sp>
      <p:sp>
        <p:nvSpPr>
          <p:cNvPr id="271" name="Google Shape;271;p116"/>
          <p:cNvSpPr txBox="1">
            <a:spLocks noGrp="1"/>
          </p:cNvSpPr>
          <p:nvPr>
            <p:ph type="body" idx="4"/>
          </p:nvPr>
        </p:nvSpPr>
        <p:spPr>
          <a:xfrm>
            <a:off x="604839" y="5464175"/>
            <a:ext cx="4770000" cy="587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72" name="Google Shape;272;p11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8480638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Text &amp; Image [Right] Alt">
  <p:cSld name="Title, Text &amp; Image [Right] Alt"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4" name="Google Shape;274;p117" descr="A blue and white gradien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296740" y="4761"/>
            <a:ext cx="589526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75" name="Google Shape;275;p117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6" name="Google Shape;276;p117"/>
          <p:cNvSpPr txBox="1">
            <a:spLocks noGrp="1"/>
          </p:cNvSpPr>
          <p:nvPr>
            <p:ph type="body" idx="1"/>
          </p:nvPr>
        </p:nvSpPr>
        <p:spPr>
          <a:xfrm>
            <a:off x="604839" y="1573619"/>
            <a:ext cx="4770000" cy="447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460A9"/>
              </a:buClr>
              <a:buSzPts val="1800"/>
              <a:buNone/>
              <a:defRPr/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7" name="Google Shape;277;p117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8" name="Google Shape;278;p117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79" name="Google Shape;279;p117"/>
          <p:cNvSpPr>
            <a:spLocks noGrp="1"/>
          </p:cNvSpPr>
          <p:nvPr>
            <p:ph type="pic" idx="2"/>
          </p:nvPr>
        </p:nvSpPr>
        <p:spPr>
          <a:xfrm>
            <a:off x="6338292" y="-2"/>
            <a:ext cx="5853707" cy="6588000"/>
          </a:xfrm>
          <a:prstGeom prst="rect">
            <a:avLst/>
          </a:prstGeom>
          <a:noFill/>
          <a:ln>
            <a:noFill/>
          </a:ln>
        </p:spPr>
      </p:sp>
      <p:sp>
        <p:nvSpPr>
          <p:cNvPr id="280" name="Google Shape;280;p117"/>
          <p:cNvSpPr txBox="1">
            <a:spLocks noGrp="1"/>
          </p:cNvSpPr>
          <p:nvPr>
            <p:ph type="body" idx="3"/>
          </p:nvPr>
        </p:nvSpPr>
        <p:spPr>
          <a:xfrm>
            <a:off x="604839" y="5464175"/>
            <a:ext cx="4770000" cy="587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81" name="Google Shape;281;p1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1568903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One Image">
  <p:cSld name="Title and One Image"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3" name="Google Shape;283;p118" descr="A purple and pink gradien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880468" y="-207409"/>
            <a:ext cx="3278191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84" name="Google Shape;284;p118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5" name="Google Shape;285;p118"/>
          <p:cNvSpPr txBox="1">
            <a:spLocks noGrp="1"/>
          </p:cNvSpPr>
          <p:nvPr>
            <p:ph type="body" idx="1"/>
          </p:nvPr>
        </p:nvSpPr>
        <p:spPr>
          <a:xfrm>
            <a:off x="604839" y="1573620"/>
            <a:ext cx="5465762" cy="355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460A9"/>
              </a:buClr>
              <a:buSzPts val="1800"/>
              <a:buNone/>
              <a:defRPr/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6" name="Google Shape;286;p118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118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88" name="Google Shape;288;p118"/>
          <p:cNvSpPr txBox="1">
            <a:spLocks noGrp="1"/>
          </p:cNvSpPr>
          <p:nvPr>
            <p:ph type="body" idx="2"/>
          </p:nvPr>
        </p:nvSpPr>
        <p:spPr>
          <a:xfrm>
            <a:off x="9872663" y="5036251"/>
            <a:ext cx="1733550" cy="692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1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1000">
                <a:solidFill>
                  <a:schemeClr val="lt1"/>
                </a:solidFill>
              </a:defRPr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" name="Google Shape;289;p118"/>
          <p:cNvSpPr>
            <a:spLocks noGrp="1"/>
          </p:cNvSpPr>
          <p:nvPr>
            <p:ph type="pic" idx="3"/>
          </p:nvPr>
        </p:nvSpPr>
        <p:spPr>
          <a:xfrm>
            <a:off x="609601" y="1998482"/>
            <a:ext cx="11168062" cy="4050866"/>
          </a:xfrm>
          <a:prstGeom prst="rect">
            <a:avLst/>
          </a:prstGeom>
          <a:noFill/>
          <a:ln>
            <a:noFill/>
          </a:ln>
        </p:spPr>
      </p:sp>
      <p:pic>
        <p:nvPicPr>
          <p:cNvPr id="290" name="Google Shape;290;p11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3931993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>
  <p:cSld name="Title and Two Images"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p119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3" name="Google Shape;293;p119"/>
          <p:cNvSpPr txBox="1">
            <a:spLocks noGrp="1"/>
          </p:cNvSpPr>
          <p:nvPr>
            <p:ph type="body" idx="1"/>
          </p:nvPr>
        </p:nvSpPr>
        <p:spPr>
          <a:xfrm>
            <a:off x="604839" y="1573620"/>
            <a:ext cx="5465762" cy="355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460A9"/>
              </a:buClr>
              <a:buSzPts val="1800"/>
              <a:buNone/>
              <a:defRPr/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4" name="Google Shape;294;p119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5" name="Google Shape;295;p119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6" name="Google Shape;296;p119"/>
          <p:cNvSpPr txBox="1">
            <a:spLocks noGrp="1"/>
          </p:cNvSpPr>
          <p:nvPr>
            <p:ph type="body" idx="2"/>
          </p:nvPr>
        </p:nvSpPr>
        <p:spPr>
          <a:xfrm>
            <a:off x="6310313" y="1573619"/>
            <a:ext cx="5465762" cy="3557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460A9"/>
              </a:buClr>
              <a:buSzPts val="1800"/>
              <a:buNone/>
              <a:defRPr/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7" name="Google Shape;297;p119"/>
          <p:cNvSpPr txBox="1">
            <a:spLocks noGrp="1"/>
          </p:cNvSpPr>
          <p:nvPr>
            <p:ph type="body" idx="3"/>
          </p:nvPr>
        </p:nvSpPr>
        <p:spPr>
          <a:xfrm>
            <a:off x="6310313" y="5359139"/>
            <a:ext cx="3582988" cy="692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8" name="Google Shape;298;p119"/>
          <p:cNvSpPr>
            <a:spLocks noGrp="1"/>
          </p:cNvSpPr>
          <p:nvPr>
            <p:ph type="pic" idx="4"/>
          </p:nvPr>
        </p:nvSpPr>
        <p:spPr>
          <a:xfrm>
            <a:off x="604838" y="2073275"/>
            <a:ext cx="5465762" cy="3190875"/>
          </a:xfrm>
          <a:prstGeom prst="rect">
            <a:avLst/>
          </a:prstGeom>
          <a:noFill/>
          <a:ln>
            <a:noFill/>
          </a:ln>
        </p:spPr>
      </p:sp>
      <p:sp>
        <p:nvSpPr>
          <p:cNvPr id="299" name="Google Shape;299;p119"/>
          <p:cNvSpPr>
            <a:spLocks noGrp="1"/>
          </p:cNvSpPr>
          <p:nvPr>
            <p:ph type="pic" idx="5"/>
          </p:nvPr>
        </p:nvSpPr>
        <p:spPr>
          <a:xfrm>
            <a:off x="6310313" y="2073275"/>
            <a:ext cx="5465762" cy="3190875"/>
          </a:xfrm>
          <a:prstGeom prst="rect">
            <a:avLst/>
          </a:prstGeom>
          <a:noFill/>
          <a:ln>
            <a:noFill/>
          </a:ln>
        </p:spPr>
      </p:sp>
      <p:sp>
        <p:nvSpPr>
          <p:cNvPr id="300" name="Google Shape;300;p119"/>
          <p:cNvSpPr txBox="1">
            <a:spLocks noGrp="1"/>
          </p:cNvSpPr>
          <p:nvPr>
            <p:ph type="body" idx="6"/>
          </p:nvPr>
        </p:nvSpPr>
        <p:spPr>
          <a:xfrm>
            <a:off x="604838" y="5359139"/>
            <a:ext cx="3582988" cy="692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01" name="Google Shape;301;p1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548685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Images">
  <p:cSld name="Title and Three Images"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oogle Shape;303;p120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4" name="Google Shape;304;p120"/>
          <p:cNvSpPr txBox="1">
            <a:spLocks noGrp="1"/>
          </p:cNvSpPr>
          <p:nvPr>
            <p:ph type="body" idx="1"/>
          </p:nvPr>
        </p:nvSpPr>
        <p:spPr>
          <a:xfrm>
            <a:off x="604839" y="1573620"/>
            <a:ext cx="3562349" cy="355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460A9"/>
              </a:buClr>
              <a:buSzPts val="1800"/>
              <a:buNone/>
              <a:defRPr/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5" name="Google Shape;305;p120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6" name="Google Shape;306;p120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07" name="Google Shape;307;p120"/>
          <p:cNvSpPr>
            <a:spLocks noGrp="1"/>
          </p:cNvSpPr>
          <p:nvPr>
            <p:ph type="pic" idx="2"/>
          </p:nvPr>
        </p:nvSpPr>
        <p:spPr>
          <a:xfrm>
            <a:off x="604838" y="2073275"/>
            <a:ext cx="3562349" cy="3190875"/>
          </a:xfrm>
          <a:prstGeom prst="rect">
            <a:avLst/>
          </a:prstGeom>
          <a:noFill/>
          <a:ln>
            <a:noFill/>
          </a:ln>
        </p:spPr>
      </p:sp>
      <p:sp>
        <p:nvSpPr>
          <p:cNvPr id="308" name="Google Shape;308;p120"/>
          <p:cNvSpPr txBox="1">
            <a:spLocks noGrp="1"/>
          </p:cNvSpPr>
          <p:nvPr>
            <p:ph type="body" idx="3"/>
          </p:nvPr>
        </p:nvSpPr>
        <p:spPr>
          <a:xfrm>
            <a:off x="604838" y="5359139"/>
            <a:ext cx="3562349" cy="692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9" name="Google Shape;309;p120"/>
          <p:cNvSpPr txBox="1">
            <a:spLocks noGrp="1"/>
          </p:cNvSpPr>
          <p:nvPr>
            <p:ph type="body" idx="4"/>
          </p:nvPr>
        </p:nvSpPr>
        <p:spPr>
          <a:xfrm>
            <a:off x="4406901" y="1573620"/>
            <a:ext cx="3562349" cy="355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460A9"/>
              </a:buClr>
              <a:buSzPts val="1800"/>
              <a:buNone/>
              <a:defRPr/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0" name="Google Shape;310;p120"/>
          <p:cNvSpPr>
            <a:spLocks noGrp="1"/>
          </p:cNvSpPr>
          <p:nvPr>
            <p:ph type="pic" idx="5"/>
          </p:nvPr>
        </p:nvSpPr>
        <p:spPr>
          <a:xfrm>
            <a:off x="4406900" y="2073275"/>
            <a:ext cx="3562349" cy="3190875"/>
          </a:xfrm>
          <a:prstGeom prst="rect">
            <a:avLst/>
          </a:prstGeom>
          <a:noFill/>
          <a:ln>
            <a:noFill/>
          </a:ln>
        </p:spPr>
      </p:sp>
      <p:sp>
        <p:nvSpPr>
          <p:cNvPr id="311" name="Google Shape;311;p120"/>
          <p:cNvSpPr txBox="1">
            <a:spLocks noGrp="1"/>
          </p:cNvSpPr>
          <p:nvPr>
            <p:ph type="body" idx="6"/>
          </p:nvPr>
        </p:nvSpPr>
        <p:spPr>
          <a:xfrm>
            <a:off x="4406900" y="5359139"/>
            <a:ext cx="3562349" cy="692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2" name="Google Shape;312;p120"/>
          <p:cNvSpPr txBox="1">
            <a:spLocks noGrp="1"/>
          </p:cNvSpPr>
          <p:nvPr>
            <p:ph type="body" idx="7"/>
          </p:nvPr>
        </p:nvSpPr>
        <p:spPr>
          <a:xfrm>
            <a:off x="8210552" y="1573620"/>
            <a:ext cx="3562349" cy="355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460A9"/>
              </a:buClr>
              <a:buSzPts val="1800"/>
              <a:buNone/>
              <a:defRPr/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" name="Google Shape;313;p120"/>
          <p:cNvSpPr>
            <a:spLocks noGrp="1"/>
          </p:cNvSpPr>
          <p:nvPr>
            <p:ph type="pic" idx="8"/>
          </p:nvPr>
        </p:nvSpPr>
        <p:spPr>
          <a:xfrm>
            <a:off x="8210551" y="2073275"/>
            <a:ext cx="3562349" cy="3190875"/>
          </a:xfrm>
          <a:prstGeom prst="rect">
            <a:avLst/>
          </a:prstGeom>
          <a:noFill/>
          <a:ln>
            <a:noFill/>
          </a:ln>
        </p:spPr>
      </p:sp>
      <p:sp>
        <p:nvSpPr>
          <p:cNvPr id="314" name="Google Shape;314;p120"/>
          <p:cNvSpPr txBox="1">
            <a:spLocks noGrp="1"/>
          </p:cNvSpPr>
          <p:nvPr>
            <p:ph type="body" idx="9"/>
          </p:nvPr>
        </p:nvSpPr>
        <p:spPr>
          <a:xfrm>
            <a:off x="8210551" y="5359139"/>
            <a:ext cx="3562349" cy="692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15" name="Google Shape;315;p1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8518132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 [Light] + Gradient">
  <p:cSld name="Full bleed image [Light] + Gradien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" name="Google Shape;317;p121" descr="A purple and pink gradien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491025" y="0"/>
            <a:ext cx="470097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18" name="Google Shape;318;p121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9" name="Google Shape;319;p121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0" name="Google Shape;320;p121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21" name="Google Shape;321;p121"/>
          <p:cNvSpPr txBox="1">
            <a:spLocks noGrp="1"/>
          </p:cNvSpPr>
          <p:nvPr>
            <p:ph type="body" idx="1"/>
          </p:nvPr>
        </p:nvSpPr>
        <p:spPr>
          <a:xfrm>
            <a:off x="8201025" y="5229371"/>
            <a:ext cx="1900238" cy="692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1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1000">
                <a:solidFill>
                  <a:schemeClr val="lt1"/>
                </a:solidFill>
              </a:defRPr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22" name="Google Shape;322;p12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3408792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 [Light] Black Logo + Gradient">
  <p:cSld name="Full bleed image [Light] Black Logo + Gradien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4" name="Google Shape;324;p122" descr="A purple and pink gradien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491025" y="0"/>
            <a:ext cx="470097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25" name="Google Shape;325;p122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6" name="Google Shape;326;p122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" name="Google Shape;327;p122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28" name="Google Shape;328;p122"/>
          <p:cNvSpPr txBox="1">
            <a:spLocks noGrp="1"/>
          </p:cNvSpPr>
          <p:nvPr>
            <p:ph type="body" idx="1"/>
          </p:nvPr>
        </p:nvSpPr>
        <p:spPr>
          <a:xfrm>
            <a:off x="8201025" y="5229371"/>
            <a:ext cx="1900238" cy="692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1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1000">
                <a:solidFill>
                  <a:schemeClr val="lt1"/>
                </a:solidFill>
              </a:defRPr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29" name="Google Shape;329;p12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14000" y="6134400"/>
            <a:ext cx="3438000" cy="6418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912338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bleed image + Shape">
  <p:cSld name="Full bleed image + Shape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1" name="Google Shape;331;p12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" y="5276289"/>
            <a:ext cx="4892510" cy="1591137"/>
          </a:xfrm>
          <a:prstGeom prst="rect">
            <a:avLst/>
          </a:prstGeom>
          <a:noFill/>
          <a:ln>
            <a:noFill/>
          </a:ln>
        </p:spPr>
      </p:pic>
      <p:sp>
        <p:nvSpPr>
          <p:cNvPr id="332" name="Google Shape;332;p123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3" name="Google Shape;333;p123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4" name="Google Shape;334;p123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35" name="Google Shape;335;p12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8676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741DFA-ACA6-8A50-805B-FCD939309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E083E8-FF88-3581-9C4F-E77151D3CC8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B3B7AF-3D25-E342-BCE9-50A3A61A5F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0DFB22-D226-54A9-6544-69EF3BD68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300395-9271-488F-86C4-5FEC6C905882}" type="datetimeFigureOut">
              <a:rPr lang="es-MX" smtClean="0"/>
              <a:t>10/09/2024</a:t>
            </a:fld>
            <a:endParaRPr lang="es-MX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61CE2F-DF6C-CFC0-A97C-2E333D884C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B7C31A-5798-FAF1-9734-983712EC8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A463C-CDBA-4079-B6FD-839D1C64C1F9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6559012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/Caption + Large Copy [Light]">
  <p:cSld name="Image/Caption + Large Copy [Light]">
    <p:spTree>
      <p:nvGrpSpPr>
        <p:cNvPr id="1" name="Shape 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" name="Google Shape;337;p124"/>
          <p:cNvSpPr>
            <a:spLocks noGrp="1"/>
          </p:cNvSpPr>
          <p:nvPr>
            <p:ph type="pic" idx="2"/>
          </p:nvPr>
        </p:nvSpPr>
        <p:spPr>
          <a:xfrm>
            <a:off x="0" y="0"/>
            <a:ext cx="6070600" cy="6858000"/>
          </a:xfrm>
          <a:prstGeom prst="rect">
            <a:avLst/>
          </a:prstGeom>
          <a:noFill/>
          <a:ln>
            <a:noFill/>
          </a:ln>
        </p:spPr>
      </p:sp>
      <p:sp>
        <p:nvSpPr>
          <p:cNvPr id="338" name="Google Shape;338;p124"/>
          <p:cNvSpPr txBox="1">
            <a:spLocks noGrp="1"/>
          </p:cNvSpPr>
          <p:nvPr>
            <p:ph type="body" idx="1"/>
          </p:nvPr>
        </p:nvSpPr>
        <p:spPr>
          <a:xfrm>
            <a:off x="6551628" y="278092"/>
            <a:ext cx="5221272" cy="5773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 b="0">
                <a:solidFill>
                  <a:srgbClr val="002068"/>
                </a:solidFill>
              </a:defRPr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9" name="Google Shape;339;p124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0" name="Google Shape;340;p124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41" name="Google Shape;341;p124"/>
          <p:cNvSpPr txBox="1">
            <a:spLocks noGrp="1"/>
          </p:cNvSpPr>
          <p:nvPr>
            <p:ph type="body" idx="3"/>
          </p:nvPr>
        </p:nvSpPr>
        <p:spPr>
          <a:xfrm>
            <a:off x="604838" y="5233035"/>
            <a:ext cx="3562390" cy="818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>
                <a:solidFill>
                  <a:schemeClr val="dk1"/>
                </a:solidFill>
              </a:defRPr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2" name="Google Shape;342;p1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3164709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/Caption + Large Copy [Shape]">
  <p:cSld name="Image/Caption + Large Copy [Shape]"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125"/>
          <p:cNvSpPr>
            <a:spLocks noGrp="1"/>
          </p:cNvSpPr>
          <p:nvPr>
            <p:ph type="pic" idx="2"/>
          </p:nvPr>
        </p:nvSpPr>
        <p:spPr>
          <a:xfrm>
            <a:off x="-3811" y="0"/>
            <a:ext cx="6092517" cy="6858000"/>
          </a:xfrm>
          <a:prstGeom prst="rect">
            <a:avLst/>
          </a:prstGeom>
          <a:noFill/>
          <a:ln>
            <a:noFill/>
          </a:ln>
        </p:spPr>
      </p:sp>
      <p:sp>
        <p:nvSpPr>
          <p:cNvPr id="345" name="Google Shape;345;p125"/>
          <p:cNvSpPr txBox="1">
            <a:spLocks noGrp="1"/>
          </p:cNvSpPr>
          <p:nvPr>
            <p:ph type="body" idx="1"/>
          </p:nvPr>
        </p:nvSpPr>
        <p:spPr>
          <a:xfrm>
            <a:off x="6551628" y="278092"/>
            <a:ext cx="5221272" cy="5773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 b="0">
                <a:solidFill>
                  <a:srgbClr val="002068"/>
                </a:solidFill>
              </a:defRPr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6" name="Google Shape;346;p125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7" name="Google Shape;347;p125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48" name="Google Shape;348;p1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5514067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/Caption + Large Copy [Dark]">
  <p:cSld name="Image/Caption + Large Copy [Dark]">
    <p:spTree>
      <p:nvGrpSpPr>
        <p:cNvPr id="1" name="Shape 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" name="Google Shape;350;p126"/>
          <p:cNvSpPr>
            <a:spLocks noGrp="1"/>
          </p:cNvSpPr>
          <p:nvPr>
            <p:ph type="pic" idx="2"/>
          </p:nvPr>
        </p:nvSpPr>
        <p:spPr>
          <a:xfrm>
            <a:off x="0" y="0"/>
            <a:ext cx="60706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</p:sp>
      <p:sp>
        <p:nvSpPr>
          <p:cNvPr id="351" name="Google Shape;351;p126"/>
          <p:cNvSpPr txBox="1">
            <a:spLocks noGrp="1"/>
          </p:cNvSpPr>
          <p:nvPr>
            <p:ph type="body" idx="1"/>
          </p:nvPr>
        </p:nvSpPr>
        <p:spPr>
          <a:xfrm>
            <a:off x="6551628" y="278092"/>
            <a:ext cx="5221272" cy="5773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 b="0">
                <a:solidFill>
                  <a:srgbClr val="002068"/>
                </a:solidFill>
              </a:defRPr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2" name="Google Shape;352;p126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3" name="Google Shape;353;p126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54" name="Google Shape;354;p126"/>
          <p:cNvSpPr txBox="1">
            <a:spLocks noGrp="1"/>
          </p:cNvSpPr>
          <p:nvPr>
            <p:ph type="body" idx="3"/>
          </p:nvPr>
        </p:nvSpPr>
        <p:spPr>
          <a:xfrm>
            <a:off x="604838" y="5233035"/>
            <a:ext cx="3562390" cy="818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1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1000">
                <a:solidFill>
                  <a:schemeClr val="lt1"/>
                </a:solidFill>
              </a:defRPr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55" name="Google Shape;355;p1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4000" y="6134400"/>
            <a:ext cx="3438000" cy="6418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794640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1">
  <p:cSld name="Quote Slide 1">
    <p:spTree>
      <p:nvGrpSpPr>
        <p:cNvPr id="1" name="Shape 3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7" name="Google Shape;357;p127" descr="A colorful background with a whit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58" name="Google Shape;358;p127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9" name="Google Shape;359;p127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60" name="Google Shape;360;p127"/>
          <p:cNvSpPr txBox="1">
            <a:spLocks noGrp="1"/>
          </p:cNvSpPr>
          <p:nvPr>
            <p:ph type="body" idx="1"/>
          </p:nvPr>
        </p:nvSpPr>
        <p:spPr>
          <a:xfrm>
            <a:off x="4238623" y="300038"/>
            <a:ext cx="7519987" cy="4738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Arial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5000"/>
              </a:lnSpc>
              <a:spcBef>
                <a:spcPts val="24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1800" b="1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1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1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1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61" name="Google Shape;361;p12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3412765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2">
  <p:cSld name="Quote Slide 2">
    <p:spTree>
      <p:nvGrpSpPr>
        <p:cNvPr id="1" name="Shape 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3" name="Google Shape;363;p128" descr="A colorful background with a white circle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64" name="Google Shape;364;p128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5" name="Google Shape;365;p128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66" name="Google Shape;366;p128"/>
          <p:cNvSpPr txBox="1">
            <a:spLocks noGrp="1"/>
          </p:cNvSpPr>
          <p:nvPr>
            <p:ph type="body" idx="1"/>
          </p:nvPr>
        </p:nvSpPr>
        <p:spPr>
          <a:xfrm>
            <a:off x="6143625" y="300038"/>
            <a:ext cx="5614985" cy="57515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 b="0">
                <a:solidFill>
                  <a:srgbClr val="002068"/>
                </a:solidFill>
              </a:defRPr>
            </a:lvl1pPr>
            <a:lvl2pPr marL="914400" lvl="1" indent="-228600" algn="l">
              <a:lnSpc>
                <a:spcPct val="95000"/>
              </a:lnSpc>
              <a:spcBef>
                <a:spcPts val="2400"/>
              </a:spcBef>
              <a:spcAft>
                <a:spcPts val="0"/>
              </a:spcAft>
              <a:buClr>
                <a:srgbClr val="002068"/>
              </a:buClr>
              <a:buSzPts val="1800"/>
              <a:buFont typeface="Arial"/>
              <a:buNone/>
              <a:defRPr sz="1800" b="1">
                <a:solidFill>
                  <a:srgbClr val="002068"/>
                </a:solidFill>
              </a:defRPr>
            </a:lvl2pPr>
            <a:lvl3pPr marL="1371600" lvl="2" indent="-22860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1">
                <a:solidFill>
                  <a:srgbClr val="002068"/>
                </a:solidFill>
              </a:defRPr>
            </a:lvl3pPr>
            <a:lvl4pPr marL="1828800" lvl="3" indent="-22860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1">
                <a:solidFill>
                  <a:srgbClr val="002068"/>
                </a:solidFill>
              </a:defRPr>
            </a:lvl4pPr>
            <a:lvl5pPr marL="2286000" lvl="4" indent="-22860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1">
                <a:solidFill>
                  <a:srgbClr val="002068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67" name="Google Shape;367;p1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0516459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3">
  <p:cSld name="Quote Slide 3"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9" name="Google Shape;369;p129" descr="A blue and orang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4608" y="0"/>
            <a:ext cx="1113739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70" name="Google Shape;370;p129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1" name="Google Shape;371;p129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2" name="Google Shape;372;p129"/>
          <p:cNvSpPr txBox="1">
            <a:spLocks noGrp="1"/>
          </p:cNvSpPr>
          <p:nvPr>
            <p:ph type="body" idx="1"/>
          </p:nvPr>
        </p:nvSpPr>
        <p:spPr>
          <a:xfrm>
            <a:off x="6143625" y="300038"/>
            <a:ext cx="5614985" cy="57515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Arial"/>
              <a:buNone/>
              <a:defRPr sz="40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5000"/>
              </a:lnSpc>
              <a:spcBef>
                <a:spcPts val="24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1800" b="1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1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1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1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73" name="Google Shape;373;p12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0221693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 5">
  <p:cSld name="Quote Slide 5">
    <p:spTree>
      <p:nvGrpSpPr>
        <p:cNvPr id="1" name="Shape 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5" name="Google Shape;375;p130" descr="A colorful liquid shapes on a whit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940552" y="0"/>
            <a:ext cx="625144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76" name="Google Shape;376;p130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" name="Google Shape;377;p130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8" name="Google Shape;378;p130"/>
          <p:cNvSpPr txBox="1">
            <a:spLocks noGrp="1"/>
          </p:cNvSpPr>
          <p:nvPr>
            <p:ph type="body" idx="1"/>
          </p:nvPr>
        </p:nvSpPr>
        <p:spPr>
          <a:xfrm>
            <a:off x="442913" y="1514474"/>
            <a:ext cx="7272337" cy="4537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 b="0">
                <a:solidFill>
                  <a:srgbClr val="002068"/>
                </a:solidFill>
              </a:defRPr>
            </a:lvl1pPr>
            <a:lvl2pPr marL="914400" lvl="1" indent="-228600" algn="l">
              <a:lnSpc>
                <a:spcPct val="95000"/>
              </a:lnSpc>
              <a:spcBef>
                <a:spcPts val="24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None/>
              <a:defRPr sz="1800" b="1">
                <a:solidFill>
                  <a:srgbClr val="0460A9"/>
                </a:solidFill>
              </a:defRPr>
            </a:lvl2pPr>
            <a:lvl3pPr marL="1371600" lvl="2" indent="-22860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1">
                <a:solidFill>
                  <a:srgbClr val="0460A9"/>
                </a:solidFill>
              </a:defRPr>
            </a:lvl3pPr>
            <a:lvl4pPr marL="1828800" lvl="3" indent="-22860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1">
                <a:solidFill>
                  <a:srgbClr val="0460A9"/>
                </a:solidFill>
              </a:defRPr>
            </a:lvl4pPr>
            <a:lvl5pPr marL="2286000" lvl="4" indent="-22860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1">
                <a:solidFill>
                  <a:srgbClr val="0460A9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9" name="Google Shape;379;p130"/>
          <p:cNvSpPr>
            <a:spLocks noGrp="1"/>
          </p:cNvSpPr>
          <p:nvPr>
            <p:ph type="pic" idx="2"/>
          </p:nvPr>
        </p:nvSpPr>
        <p:spPr>
          <a:xfrm>
            <a:off x="604838" y="385763"/>
            <a:ext cx="990600" cy="9906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</p:sp>
      <p:pic>
        <p:nvPicPr>
          <p:cNvPr id="380" name="Google Shape;380;p1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76286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Icons">
  <p:cSld name="Three Icons"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p131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" name="Google Shape;383;p131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4" name="Google Shape;384;p131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5" name="Google Shape;385;p131"/>
          <p:cNvSpPr txBox="1">
            <a:spLocks noGrp="1"/>
          </p:cNvSpPr>
          <p:nvPr>
            <p:ph type="body" idx="1"/>
          </p:nvPr>
        </p:nvSpPr>
        <p:spPr>
          <a:xfrm>
            <a:off x="604839" y="3026004"/>
            <a:ext cx="3562350" cy="30255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None/>
              <a:defRPr sz="1800"/>
            </a:lvl1pPr>
            <a:lvl2pPr marL="914400" lvl="1" indent="-2286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/>
            </a:lvl2pPr>
            <a:lvl3pPr marL="1371600" lvl="2" indent="-3429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3pPr>
            <a:lvl4pPr marL="1828800" lvl="3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4pPr>
            <a:lvl5pPr marL="2286000" lvl="4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6" name="Google Shape;386;p131"/>
          <p:cNvSpPr txBox="1">
            <a:spLocks noGrp="1"/>
          </p:cNvSpPr>
          <p:nvPr>
            <p:ph type="body" idx="2"/>
          </p:nvPr>
        </p:nvSpPr>
        <p:spPr>
          <a:xfrm>
            <a:off x="4406900" y="3026004"/>
            <a:ext cx="3562350" cy="30255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None/>
              <a:defRPr sz="1800"/>
            </a:lvl1pPr>
            <a:lvl2pPr marL="914400" lvl="1" indent="-2286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/>
            </a:lvl2pPr>
            <a:lvl3pPr marL="1371600" lvl="2" indent="-3429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3pPr>
            <a:lvl4pPr marL="1828800" lvl="3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4pPr>
            <a:lvl5pPr marL="2286000" lvl="4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7" name="Google Shape;387;p131"/>
          <p:cNvSpPr txBox="1">
            <a:spLocks noGrp="1"/>
          </p:cNvSpPr>
          <p:nvPr>
            <p:ph type="body" idx="3"/>
          </p:nvPr>
        </p:nvSpPr>
        <p:spPr>
          <a:xfrm>
            <a:off x="8204626" y="3026004"/>
            <a:ext cx="3562350" cy="30255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None/>
              <a:defRPr sz="1800"/>
            </a:lvl1pPr>
            <a:lvl2pPr marL="914400" lvl="1" indent="-2286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/>
            </a:lvl2pPr>
            <a:lvl3pPr marL="1371600" lvl="2" indent="-3429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3pPr>
            <a:lvl4pPr marL="1828800" lvl="3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4pPr>
            <a:lvl5pPr marL="2286000" lvl="4" indent="-330200" algn="l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SzPts val="1600"/>
              <a:buChar char="–"/>
              <a:defRPr sz="16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" name="Google Shape;388;p131"/>
          <p:cNvSpPr>
            <a:spLocks noGrp="1"/>
          </p:cNvSpPr>
          <p:nvPr>
            <p:ph type="pic" idx="4"/>
          </p:nvPr>
        </p:nvSpPr>
        <p:spPr>
          <a:xfrm>
            <a:off x="532800" y="1497600"/>
            <a:ext cx="1173600" cy="1173600"/>
          </a:xfrm>
          <a:prstGeom prst="rect">
            <a:avLst/>
          </a:prstGeom>
          <a:noFill/>
          <a:ln>
            <a:noFill/>
          </a:ln>
        </p:spPr>
      </p:sp>
      <p:sp>
        <p:nvSpPr>
          <p:cNvPr id="389" name="Google Shape;389;p131"/>
          <p:cNvSpPr>
            <a:spLocks noGrp="1"/>
          </p:cNvSpPr>
          <p:nvPr>
            <p:ph type="pic" idx="5"/>
          </p:nvPr>
        </p:nvSpPr>
        <p:spPr>
          <a:xfrm>
            <a:off x="4326163" y="1497600"/>
            <a:ext cx="1173600" cy="1173600"/>
          </a:xfrm>
          <a:prstGeom prst="rect">
            <a:avLst/>
          </a:prstGeom>
          <a:noFill/>
          <a:ln>
            <a:noFill/>
          </a:ln>
        </p:spPr>
      </p:sp>
      <p:sp>
        <p:nvSpPr>
          <p:cNvPr id="390" name="Google Shape;390;p131"/>
          <p:cNvSpPr>
            <a:spLocks noGrp="1"/>
          </p:cNvSpPr>
          <p:nvPr>
            <p:ph type="pic" idx="6"/>
          </p:nvPr>
        </p:nvSpPr>
        <p:spPr>
          <a:xfrm>
            <a:off x="8119526" y="1497600"/>
            <a:ext cx="1173600" cy="117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391" name="Google Shape;391;p1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0559402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Text &amp; Blank">
  <p:cSld name="Title, Text &amp; Blank">
    <p:spTree>
      <p:nvGrpSpPr>
        <p:cNvPr id="1" name="Shape 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" name="Google Shape;401;p133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2" name="Google Shape;402;p133"/>
          <p:cNvSpPr txBox="1">
            <a:spLocks noGrp="1"/>
          </p:cNvSpPr>
          <p:nvPr>
            <p:ph type="body" idx="1"/>
          </p:nvPr>
        </p:nvSpPr>
        <p:spPr>
          <a:xfrm>
            <a:off x="604839" y="1573619"/>
            <a:ext cx="4770000" cy="447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460A9"/>
              </a:buClr>
              <a:buSzPts val="1800"/>
              <a:buNone/>
              <a:defRPr/>
            </a:lvl1pPr>
            <a:lvl2pPr marL="914400" lvl="1" indent="-228600" algn="l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3" name="Google Shape;403;p133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4" name="Google Shape;404;p133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5" name="Google Shape;405;p133"/>
          <p:cNvSpPr txBox="1">
            <a:spLocks noGrp="1"/>
          </p:cNvSpPr>
          <p:nvPr>
            <p:ph type="body" idx="2"/>
          </p:nvPr>
        </p:nvSpPr>
        <p:spPr>
          <a:xfrm>
            <a:off x="604839" y="5464175"/>
            <a:ext cx="4770000" cy="587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Font typeface="Arial"/>
              <a:buNone/>
              <a:defRPr sz="900" b="0"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406" name="Google Shape;406;p1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5414725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Section Divider 1">
  <p:cSld name="2_Section Divider 1">
    <p:spTree>
      <p:nvGrpSpPr>
        <p:cNvPr id="1" name="Shape 4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8" name="Google Shape;408;p134" descr="A colorful blots on a white background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31784" t="2925" r="9123" b="488"/>
          <a:stretch/>
        </p:blipFill>
        <p:spPr>
          <a:xfrm>
            <a:off x="4734046" y="-1"/>
            <a:ext cx="7457955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409" name="Google Shape;409;p134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0" name="Google Shape;410;p134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11" name="Google Shape;411;p134"/>
          <p:cNvSpPr txBox="1">
            <a:spLocks noGrp="1"/>
          </p:cNvSpPr>
          <p:nvPr>
            <p:ph type="ctrTitle"/>
          </p:nvPr>
        </p:nvSpPr>
        <p:spPr>
          <a:xfrm>
            <a:off x="604838" y="2758439"/>
            <a:ext cx="3562350" cy="2280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4000"/>
              <a:buFont typeface="Arial"/>
              <a:buNone/>
              <a:defRPr sz="4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2" name="Google Shape;412;p134"/>
          <p:cNvSpPr txBox="1">
            <a:spLocks noGrp="1"/>
          </p:cNvSpPr>
          <p:nvPr>
            <p:ph type="body" idx="1"/>
          </p:nvPr>
        </p:nvSpPr>
        <p:spPr>
          <a:xfrm>
            <a:off x="604838" y="338018"/>
            <a:ext cx="3802062" cy="12531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None/>
              <a:defRPr sz="2000"/>
            </a:lvl1pPr>
            <a:lvl2pPr marL="914400" lvl="1" indent="-22860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None/>
              <a:defRPr sz="2000">
                <a:solidFill>
                  <a:srgbClr val="0460A9"/>
                </a:solidFill>
              </a:defRPr>
            </a:lvl2pPr>
            <a:lvl3pPr marL="1371600" lvl="2" indent="-3556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2000"/>
              <a:buChar char="•"/>
              <a:defRPr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lvl="3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4pPr>
            <a:lvl5pPr marL="2286000" lvl="4" indent="-342900" algn="l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413" name="Google Shape;413;p13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60576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ags" Target="../tags/tag3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image" Target="../media/image2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9" Type="http://schemas.openxmlformats.org/officeDocument/2006/relationships/slideLayout" Target="../slideLayouts/slideLayout98.xml"/><Relationship Id="rId21" Type="http://schemas.openxmlformats.org/officeDocument/2006/relationships/slideLayout" Target="../slideLayouts/slideLayout80.xml"/><Relationship Id="rId34" Type="http://schemas.openxmlformats.org/officeDocument/2006/relationships/slideLayout" Target="../slideLayouts/slideLayout93.xml"/><Relationship Id="rId42" Type="http://schemas.openxmlformats.org/officeDocument/2006/relationships/slideLayout" Target="../slideLayouts/slideLayout101.xml"/><Relationship Id="rId47" Type="http://schemas.openxmlformats.org/officeDocument/2006/relationships/slideLayout" Target="../slideLayouts/slideLayout106.xml"/><Relationship Id="rId50" Type="http://schemas.openxmlformats.org/officeDocument/2006/relationships/tags" Target="../tags/tag24.xml"/><Relationship Id="rId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9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slideLayout" Target="../slideLayouts/slideLayout91.xml"/><Relationship Id="rId37" Type="http://schemas.openxmlformats.org/officeDocument/2006/relationships/slideLayout" Target="../slideLayouts/slideLayout96.xml"/><Relationship Id="rId40" Type="http://schemas.openxmlformats.org/officeDocument/2006/relationships/slideLayout" Target="../slideLayouts/slideLayout99.xml"/><Relationship Id="rId45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36" Type="http://schemas.openxmlformats.org/officeDocument/2006/relationships/slideLayout" Target="../slideLayouts/slideLayout95.xml"/><Relationship Id="rId49" Type="http://schemas.openxmlformats.org/officeDocument/2006/relationships/theme" Target="../theme/theme3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slideLayout" Target="../slideLayouts/slideLayout90.xml"/><Relationship Id="rId44" Type="http://schemas.openxmlformats.org/officeDocument/2006/relationships/slideLayout" Target="../slideLayouts/slideLayout103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Relationship Id="rId35" Type="http://schemas.openxmlformats.org/officeDocument/2006/relationships/slideLayout" Target="../slideLayouts/slideLayout94.xml"/><Relationship Id="rId43" Type="http://schemas.openxmlformats.org/officeDocument/2006/relationships/slideLayout" Target="../slideLayouts/slideLayout102.xml"/><Relationship Id="rId48" Type="http://schemas.openxmlformats.org/officeDocument/2006/relationships/slideLayout" Target="../slideLayouts/slideLayout107.xml"/><Relationship Id="rId8" Type="http://schemas.openxmlformats.org/officeDocument/2006/relationships/slideLayout" Target="../slideLayouts/slideLayout67.xml"/><Relationship Id="rId51" Type="http://schemas.openxmlformats.org/officeDocument/2006/relationships/oleObject" Target="../embeddings/oleObject7.bin"/><Relationship Id="rId3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slideLayout" Target="../slideLayouts/slideLayout92.xml"/><Relationship Id="rId38" Type="http://schemas.openxmlformats.org/officeDocument/2006/relationships/slideLayout" Target="../slideLayouts/slideLayout97.xml"/><Relationship Id="rId46" Type="http://schemas.openxmlformats.org/officeDocument/2006/relationships/slideLayout" Target="../slideLayouts/slideLayout105.xml"/><Relationship Id="rId20" Type="http://schemas.openxmlformats.org/officeDocument/2006/relationships/slideLayout" Target="../slideLayouts/slideLayout79.xml"/><Relationship Id="rId41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slideLayout" Target="../slideLayouts/slideLayout110.xml"/><Relationship Id="rId7" Type="http://schemas.openxmlformats.org/officeDocument/2006/relationships/tags" Target="../tags/tag25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1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11.xml"/><Relationship Id="rId9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60BB743-0235-56FB-56B1-4D2D616206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86874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0BB743-0235-56FB-56B1-4D2D616206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C9521B-86BF-CB35-A289-DB66FA944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4DF185-5E12-4F0E-0383-2D2AF60610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A01964-EF20-E3E3-2658-4127789278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B300395-9271-488F-86C4-5FEC6C905882}" type="datetimeFigureOut">
              <a:rPr lang="es-MX" smtClean="0"/>
              <a:t>10/09/2024</a:t>
            </a:fld>
            <a:endParaRPr lang="es-MX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6CF8D4-3D40-F7B4-7C08-8F575A32C3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2DA7B-47FD-6114-D8D7-B22DCCAB39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CDA463C-CDBA-4079-B6FD-839D1C64C1F9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876667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A91C60F-9288-5935-FA84-F7681C4BA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804261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95" imgH="396" progId="TCLayout.ActiveDocument.1">
                  <p:embed/>
                </p:oleObj>
              </mc:Choice>
              <mc:Fallback>
                <p:oleObj name="think-cell Slide" r:id="rId51" imgW="395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91C60F-9288-5935-FA84-F7681C4BA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Business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657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>
          <p15:clr>
            <a:srgbClr val="F26B43"/>
          </p15:clr>
        </p15:guide>
        <p15:guide id="2" pos="3975">
          <p15:clr>
            <a:srgbClr val="F26B43"/>
          </p15:clr>
        </p15:guide>
        <p15:guide id="3" orient="horz" pos="243">
          <p15:clr>
            <a:srgbClr val="F26B43"/>
          </p15:clr>
        </p15:guide>
        <p15:guide id="4" orient="horz" pos="3812">
          <p15:clr>
            <a:srgbClr val="F26B43"/>
          </p15:clr>
        </p15:guide>
        <p15:guide id="5" orient="horz" pos="867">
          <p15:clr>
            <a:srgbClr val="F26B43"/>
          </p15:clr>
        </p15:guide>
        <p15:guide id="6" orient="horz" pos="1015">
          <p15:clr>
            <a:srgbClr val="F26B43"/>
          </p15:clr>
        </p15:guide>
        <p15:guide id="7" orient="horz" pos="1639">
          <p15:clr>
            <a:srgbClr val="F26B43"/>
          </p15:clr>
        </p15:guide>
        <p15:guide id="8" orient="horz" pos="1781">
          <p15:clr>
            <a:srgbClr val="F26B43"/>
          </p15:clr>
        </p15:guide>
        <p15:guide id="9" orient="horz" pos="2544">
          <p15:clr>
            <a:srgbClr val="F26B43"/>
          </p15:clr>
        </p15:guide>
        <p15:guide id="10" orient="horz" pos="3174">
          <p15:clr>
            <a:srgbClr val="F26B43"/>
          </p15:clr>
        </p15:guide>
        <p15:guide id="11" orient="horz" pos="3316">
          <p15:clr>
            <a:srgbClr val="F26B43"/>
          </p15:clr>
        </p15:guide>
        <p15:guide id="12" pos="7416">
          <p15:clr>
            <a:srgbClr val="F26B43"/>
          </p15:clr>
        </p15:guide>
        <p15:guide id="13" pos="381">
          <p15:clr>
            <a:srgbClr val="F26B43"/>
          </p15:clr>
        </p15:guide>
        <p15:guide id="14" pos="1434">
          <p15:clr>
            <a:srgbClr val="F26B43"/>
          </p15:clr>
        </p15:guide>
        <p15:guide id="15" pos="1581">
          <p15:clr>
            <a:srgbClr val="F26B43"/>
          </p15:clr>
        </p15:guide>
        <p15:guide id="16" pos="2625">
          <p15:clr>
            <a:srgbClr val="F26B43"/>
          </p15:clr>
        </p15:guide>
        <p15:guide id="17" pos="2776">
          <p15:clr>
            <a:srgbClr val="F26B43"/>
          </p15:clr>
        </p15:guide>
        <p15:guide id="18" pos="3824">
          <p15:clr>
            <a:srgbClr val="F26B43"/>
          </p15:clr>
        </p15:guide>
        <p15:guide id="19" pos="5020">
          <p15:clr>
            <a:srgbClr val="F26B43"/>
          </p15:clr>
        </p15:guide>
        <p15:guide id="20" pos="5166">
          <p15:clr>
            <a:srgbClr val="F26B43"/>
          </p15:clr>
        </p15:guide>
        <p15:guide id="21" pos="6219">
          <p15:clr>
            <a:srgbClr val="F26B43"/>
          </p15:clr>
        </p15:guide>
        <p15:guide id="22" pos="63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63425B0-F197-9DEA-359F-8EB95A0305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711875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416" imgH="416" progId="TCLayout.ActiveDocument.1">
                  <p:embed/>
                </p:oleObj>
              </mc:Choice>
              <mc:Fallback>
                <p:oleObj name="think-cell Slide" r:id="rId51" imgW="416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3425B0-F197-9DEA-359F-8EB95A030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Google Shape;85;p37"/>
          <p:cNvSpPr txBox="1"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3000"/>
              <a:buFont typeface="Arial"/>
              <a:buNone/>
              <a:defRPr sz="3000" b="1" i="0" u="none" strike="noStrike" cap="none">
                <a:solidFill>
                  <a:srgbClr val="00206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p37"/>
          <p:cNvSpPr txBox="1"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None/>
              <a:defRPr sz="2000" b="1" i="0" u="none" strike="noStrike" cap="none">
                <a:solidFill>
                  <a:srgbClr val="0460A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5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460A9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460A9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Google Shape;87;p37"/>
          <p:cNvSpPr txBox="1">
            <a:spLocks noGrp="1"/>
          </p:cNvSpPr>
          <p:nvPr>
            <p:ph type="ftr" idx="11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8" name="Google Shape;88;p37"/>
          <p:cNvSpPr txBox="1">
            <a:spLocks noGrp="1"/>
          </p:cNvSpPr>
          <p:nvPr>
            <p:ph type="sldNum" idx="12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219435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743" r:id="rId34"/>
    <p:sldLayoutId id="2147483744" r:id="rId35"/>
    <p:sldLayoutId id="2147483745" r:id="rId36"/>
    <p:sldLayoutId id="2147483746" r:id="rId37"/>
    <p:sldLayoutId id="2147483747" r:id="rId38"/>
    <p:sldLayoutId id="2147483748" r:id="rId39"/>
    <p:sldLayoutId id="2147483749" r:id="rId40"/>
    <p:sldLayoutId id="2147483750" r:id="rId41"/>
    <p:sldLayoutId id="2147483751" r:id="rId42"/>
    <p:sldLayoutId id="2147483752" r:id="rId43"/>
    <p:sldLayoutId id="2147483753" r:id="rId44"/>
    <p:sldLayoutId id="2147483754" r:id="rId45"/>
    <p:sldLayoutId id="2147483755" r:id="rId46"/>
    <p:sldLayoutId id="2147483756" r:id="rId47"/>
    <p:sldLayoutId id="2147483757" r:id="rId4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>
          <p15:clr>
            <a:srgbClr val="F26B43"/>
          </p15:clr>
        </p15:guide>
        <p15:guide id="2" pos="3975">
          <p15:clr>
            <a:srgbClr val="F26B43"/>
          </p15:clr>
        </p15:guide>
        <p15:guide id="3" orient="horz" pos="243">
          <p15:clr>
            <a:srgbClr val="F26B43"/>
          </p15:clr>
        </p15:guide>
        <p15:guide id="4" orient="horz" pos="3812">
          <p15:clr>
            <a:srgbClr val="F26B43"/>
          </p15:clr>
        </p15:guide>
        <p15:guide id="5" orient="horz" pos="867">
          <p15:clr>
            <a:srgbClr val="F26B43"/>
          </p15:clr>
        </p15:guide>
        <p15:guide id="6" orient="horz" pos="1015">
          <p15:clr>
            <a:srgbClr val="F26B43"/>
          </p15:clr>
        </p15:guide>
        <p15:guide id="7" orient="horz" pos="1639">
          <p15:clr>
            <a:srgbClr val="F26B43"/>
          </p15:clr>
        </p15:guide>
        <p15:guide id="8" orient="horz" pos="1781">
          <p15:clr>
            <a:srgbClr val="F26B43"/>
          </p15:clr>
        </p15:guide>
        <p15:guide id="9" orient="horz" pos="2544">
          <p15:clr>
            <a:srgbClr val="F26B43"/>
          </p15:clr>
        </p15:guide>
        <p15:guide id="10" orient="horz" pos="3174">
          <p15:clr>
            <a:srgbClr val="F26B43"/>
          </p15:clr>
        </p15:guide>
        <p15:guide id="11" orient="horz" pos="3316">
          <p15:clr>
            <a:srgbClr val="F26B43"/>
          </p15:clr>
        </p15:guide>
        <p15:guide id="12" pos="7416">
          <p15:clr>
            <a:srgbClr val="F26B43"/>
          </p15:clr>
        </p15:guide>
        <p15:guide id="13" pos="381">
          <p15:clr>
            <a:srgbClr val="F26B43"/>
          </p15:clr>
        </p15:guide>
        <p15:guide id="14" pos="1434">
          <p15:clr>
            <a:srgbClr val="F26B43"/>
          </p15:clr>
        </p15:guide>
        <p15:guide id="15" pos="1581">
          <p15:clr>
            <a:srgbClr val="F26B43"/>
          </p15:clr>
        </p15:guide>
        <p15:guide id="16" pos="2625">
          <p15:clr>
            <a:srgbClr val="F26B43"/>
          </p15:clr>
        </p15:guide>
        <p15:guide id="17" pos="2776">
          <p15:clr>
            <a:srgbClr val="F26B43"/>
          </p15:clr>
        </p15:guide>
        <p15:guide id="18" pos="3824">
          <p15:clr>
            <a:srgbClr val="F26B43"/>
          </p15:clr>
        </p15:guide>
        <p15:guide id="19" pos="5020">
          <p15:clr>
            <a:srgbClr val="F26B43"/>
          </p15:clr>
        </p15:guide>
        <p15:guide id="20" pos="5166">
          <p15:clr>
            <a:srgbClr val="F26B43"/>
          </p15:clr>
        </p15:guide>
        <p15:guide id="21" pos="6219">
          <p15:clr>
            <a:srgbClr val="F26B43"/>
          </p15:clr>
        </p15:guide>
        <p15:guide id="22" pos="63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6" imgH="416" progId="TCLayout.ActiveDocument.1">
                  <p:embed/>
                </p:oleObj>
              </mc:Choice>
              <mc:Fallback>
                <p:oleObj name="think-cell Slide" r:id="rId9" imgW="416" imgH="4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3D4C858-7454-8643-A91C-B389B3F52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8E75C2-6857-CB4B-9D3A-9867328BC7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E994C5-9E31-214C-822D-F9408D8620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3C5B6F-D5D8-074C-8767-DAF28097D56C}" type="datetimeFigureOut">
              <a:rPr lang="en-US" smtClean="0"/>
              <a:t>9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2385D2-06F6-CF4A-B82A-FEEB281876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FCC2BF-6E38-A94F-9EAF-26964A11F9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8F63C6-0F8C-2C42-87FE-FED2E84B55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79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1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svg"/><Relationship Id="rId13" Type="http://schemas.openxmlformats.org/officeDocument/2006/relationships/image" Target="../media/image3.emf"/><Relationship Id="rId3" Type="http://schemas.openxmlformats.org/officeDocument/2006/relationships/oleObject" Target="../embeddings/oleObject12.bin"/><Relationship Id="rId7" Type="http://schemas.openxmlformats.org/officeDocument/2006/relationships/image" Target="../media/image80.png"/><Relationship Id="rId12" Type="http://schemas.openxmlformats.org/officeDocument/2006/relationships/image" Target="../media/image75.svg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30.xml"/><Relationship Id="rId6" Type="http://schemas.openxmlformats.org/officeDocument/2006/relationships/image" Target="../media/image77.svg"/><Relationship Id="rId11" Type="http://schemas.openxmlformats.org/officeDocument/2006/relationships/image" Target="../media/image74.png"/><Relationship Id="rId5" Type="http://schemas.openxmlformats.org/officeDocument/2006/relationships/image" Target="../media/image76.png"/><Relationship Id="rId10" Type="http://schemas.openxmlformats.org/officeDocument/2006/relationships/image" Target="../media/image79.svg"/><Relationship Id="rId4" Type="http://schemas.openxmlformats.org/officeDocument/2006/relationships/image" Target="../media/image1.emf"/><Relationship Id="rId9" Type="http://schemas.openxmlformats.org/officeDocument/2006/relationships/image" Target="../media/image7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svg"/><Relationship Id="rId13" Type="http://schemas.openxmlformats.org/officeDocument/2006/relationships/image" Target="../media/image3.emf"/><Relationship Id="rId3" Type="http://schemas.openxmlformats.org/officeDocument/2006/relationships/oleObject" Target="../embeddings/oleObject13.bin"/><Relationship Id="rId7" Type="http://schemas.openxmlformats.org/officeDocument/2006/relationships/image" Target="../media/image80.png"/><Relationship Id="rId12" Type="http://schemas.openxmlformats.org/officeDocument/2006/relationships/image" Target="../media/image75.svg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31.xml"/><Relationship Id="rId6" Type="http://schemas.openxmlformats.org/officeDocument/2006/relationships/image" Target="../media/image77.svg"/><Relationship Id="rId11" Type="http://schemas.openxmlformats.org/officeDocument/2006/relationships/image" Target="../media/image74.png"/><Relationship Id="rId5" Type="http://schemas.openxmlformats.org/officeDocument/2006/relationships/image" Target="../media/image76.png"/><Relationship Id="rId10" Type="http://schemas.openxmlformats.org/officeDocument/2006/relationships/image" Target="../media/image79.svg"/><Relationship Id="rId4" Type="http://schemas.openxmlformats.org/officeDocument/2006/relationships/image" Target="../media/image1.emf"/><Relationship Id="rId9" Type="http://schemas.openxmlformats.org/officeDocument/2006/relationships/image" Target="../media/image7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5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svg"/><Relationship Id="rId13" Type="http://schemas.openxmlformats.org/officeDocument/2006/relationships/image" Target="../media/image3.emf"/><Relationship Id="rId3" Type="http://schemas.openxmlformats.org/officeDocument/2006/relationships/oleObject" Target="../embeddings/oleObject14.bin"/><Relationship Id="rId7" Type="http://schemas.openxmlformats.org/officeDocument/2006/relationships/image" Target="../media/image80.png"/><Relationship Id="rId12" Type="http://schemas.openxmlformats.org/officeDocument/2006/relationships/image" Target="../media/image75.svg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32.xml"/><Relationship Id="rId6" Type="http://schemas.openxmlformats.org/officeDocument/2006/relationships/image" Target="../media/image77.svg"/><Relationship Id="rId11" Type="http://schemas.openxmlformats.org/officeDocument/2006/relationships/image" Target="../media/image74.png"/><Relationship Id="rId5" Type="http://schemas.openxmlformats.org/officeDocument/2006/relationships/image" Target="../media/image76.png"/><Relationship Id="rId10" Type="http://schemas.openxmlformats.org/officeDocument/2006/relationships/image" Target="../media/image79.svg"/><Relationship Id="rId4" Type="http://schemas.openxmlformats.org/officeDocument/2006/relationships/image" Target="../media/image1.emf"/><Relationship Id="rId9" Type="http://schemas.openxmlformats.org/officeDocument/2006/relationships/image" Target="../media/image7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svg"/><Relationship Id="rId13" Type="http://schemas.openxmlformats.org/officeDocument/2006/relationships/image" Target="../media/image87.pn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80.png"/><Relationship Id="rId12" Type="http://schemas.openxmlformats.org/officeDocument/2006/relationships/image" Target="../media/image75.svg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33.xml"/><Relationship Id="rId6" Type="http://schemas.openxmlformats.org/officeDocument/2006/relationships/image" Target="../media/image77.svg"/><Relationship Id="rId11" Type="http://schemas.openxmlformats.org/officeDocument/2006/relationships/image" Target="../media/image74.png"/><Relationship Id="rId5" Type="http://schemas.openxmlformats.org/officeDocument/2006/relationships/image" Target="../media/image76.png"/><Relationship Id="rId15" Type="http://schemas.openxmlformats.org/officeDocument/2006/relationships/image" Target="../media/image3.emf"/><Relationship Id="rId10" Type="http://schemas.openxmlformats.org/officeDocument/2006/relationships/image" Target="../media/image79.svg"/><Relationship Id="rId4" Type="http://schemas.openxmlformats.org/officeDocument/2006/relationships/image" Target="../media/image1.emf"/><Relationship Id="rId9" Type="http://schemas.openxmlformats.org/officeDocument/2006/relationships/image" Target="../media/image78.png"/><Relationship Id="rId14" Type="http://schemas.microsoft.com/office/2007/relationships/hdphoto" Target="../media/hdphoto10.wdp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5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svg"/><Relationship Id="rId13" Type="http://schemas.openxmlformats.org/officeDocument/2006/relationships/image" Target="../media/image87.pn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80.png"/><Relationship Id="rId12" Type="http://schemas.openxmlformats.org/officeDocument/2006/relationships/image" Target="../media/image75.svg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34.xml"/><Relationship Id="rId6" Type="http://schemas.openxmlformats.org/officeDocument/2006/relationships/image" Target="../media/image77.svg"/><Relationship Id="rId11" Type="http://schemas.openxmlformats.org/officeDocument/2006/relationships/image" Target="../media/image74.png"/><Relationship Id="rId5" Type="http://schemas.openxmlformats.org/officeDocument/2006/relationships/image" Target="../media/image76.png"/><Relationship Id="rId15" Type="http://schemas.openxmlformats.org/officeDocument/2006/relationships/image" Target="../media/image3.emf"/><Relationship Id="rId10" Type="http://schemas.openxmlformats.org/officeDocument/2006/relationships/image" Target="../media/image79.svg"/><Relationship Id="rId4" Type="http://schemas.openxmlformats.org/officeDocument/2006/relationships/image" Target="../media/image1.emf"/><Relationship Id="rId9" Type="http://schemas.openxmlformats.org/officeDocument/2006/relationships/image" Target="../media/image78.png"/><Relationship Id="rId14" Type="http://schemas.microsoft.com/office/2007/relationships/hdphoto" Target="../media/hdphoto10.wdp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63.png"/><Relationship Id="rId18" Type="http://schemas.openxmlformats.org/officeDocument/2006/relationships/image" Target="../media/image66.png"/><Relationship Id="rId26" Type="http://schemas.openxmlformats.org/officeDocument/2006/relationships/image" Target="../media/image71.png"/><Relationship Id="rId3" Type="http://schemas.openxmlformats.org/officeDocument/2006/relationships/image" Target="../media/image56.png"/><Relationship Id="rId21" Type="http://schemas.microsoft.com/office/2007/relationships/hdphoto" Target="../media/hdphoto7.wdp"/><Relationship Id="rId7" Type="http://schemas.openxmlformats.org/officeDocument/2006/relationships/image" Target="../media/image59.png"/><Relationship Id="rId12" Type="http://schemas.openxmlformats.org/officeDocument/2006/relationships/image" Target="../media/image62.png"/><Relationship Id="rId17" Type="http://schemas.microsoft.com/office/2007/relationships/hdphoto" Target="../media/hdphoto5.wdp"/><Relationship Id="rId25" Type="http://schemas.openxmlformats.org/officeDocument/2006/relationships/image" Target="../media/image70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65.png"/><Relationship Id="rId20" Type="http://schemas.openxmlformats.org/officeDocument/2006/relationships/image" Target="../media/image67.png"/><Relationship Id="rId1" Type="http://schemas.openxmlformats.org/officeDocument/2006/relationships/slideLayout" Target="../slideLayouts/slideLayout66.xml"/><Relationship Id="rId6" Type="http://schemas.microsoft.com/office/2007/relationships/hdphoto" Target="../media/hdphoto1.wdp"/><Relationship Id="rId11" Type="http://schemas.openxmlformats.org/officeDocument/2006/relationships/image" Target="../media/image61.png"/><Relationship Id="rId24" Type="http://schemas.openxmlformats.org/officeDocument/2006/relationships/image" Target="../media/image69.png"/><Relationship Id="rId5" Type="http://schemas.openxmlformats.org/officeDocument/2006/relationships/image" Target="../media/image58.png"/><Relationship Id="rId15" Type="http://schemas.openxmlformats.org/officeDocument/2006/relationships/image" Target="../media/image64.png"/><Relationship Id="rId23" Type="http://schemas.microsoft.com/office/2007/relationships/hdphoto" Target="../media/hdphoto8.wdp"/><Relationship Id="rId28" Type="http://schemas.openxmlformats.org/officeDocument/2006/relationships/image" Target="../media/image3.emf"/><Relationship Id="rId10" Type="http://schemas.microsoft.com/office/2007/relationships/hdphoto" Target="../media/hdphoto3.wdp"/><Relationship Id="rId19" Type="http://schemas.microsoft.com/office/2007/relationships/hdphoto" Target="../media/hdphoto6.wdp"/><Relationship Id="rId4" Type="http://schemas.openxmlformats.org/officeDocument/2006/relationships/image" Target="../media/image57.png"/><Relationship Id="rId9" Type="http://schemas.openxmlformats.org/officeDocument/2006/relationships/image" Target="../media/image60.png"/><Relationship Id="rId14" Type="http://schemas.microsoft.com/office/2007/relationships/hdphoto" Target="../media/hdphoto4.wdp"/><Relationship Id="rId22" Type="http://schemas.openxmlformats.org/officeDocument/2006/relationships/image" Target="../media/image68.png"/><Relationship Id="rId27" Type="http://schemas.microsoft.com/office/2007/relationships/hdphoto" Target="../media/hdphoto9.wdp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sv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78.png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35.xml"/><Relationship Id="rId6" Type="http://schemas.openxmlformats.org/officeDocument/2006/relationships/image" Target="../media/image77.svg"/><Relationship Id="rId11" Type="http://schemas.openxmlformats.org/officeDocument/2006/relationships/image" Target="../media/image3.emf"/><Relationship Id="rId5" Type="http://schemas.openxmlformats.org/officeDocument/2006/relationships/image" Target="../media/image76.png"/><Relationship Id="rId10" Type="http://schemas.openxmlformats.org/officeDocument/2006/relationships/image" Target="../media/image75.svg"/><Relationship Id="rId4" Type="http://schemas.openxmlformats.org/officeDocument/2006/relationships/image" Target="../media/image1.emf"/><Relationship Id="rId9" Type="http://schemas.openxmlformats.org/officeDocument/2006/relationships/image" Target="../media/image7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5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13" Type="http://schemas.openxmlformats.org/officeDocument/2006/relationships/image" Target="../media/image75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77.svg"/><Relationship Id="rId12" Type="http://schemas.openxmlformats.org/officeDocument/2006/relationships/image" Target="../media/image74.png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36.xml"/><Relationship Id="rId6" Type="http://schemas.openxmlformats.org/officeDocument/2006/relationships/image" Target="../media/image76.png"/><Relationship Id="rId11" Type="http://schemas.openxmlformats.org/officeDocument/2006/relationships/image" Target="../media/image79.svg"/><Relationship Id="rId5" Type="http://schemas.openxmlformats.org/officeDocument/2006/relationships/image" Target="../media/image1.emf"/><Relationship Id="rId10" Type="http://schemas.openxmlformats.org/officeDocument/2006/relationships/image" Target="../media/image78.pn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81.svg"/><Relationship Id="rId14" Type="http://schemas.openxmlformats.org/officeDocument/2006/relationships/image" Target="../media/image3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svg"/><Relationship Id="rId13" Type="http://schemas.openxmlformats.org/officeDocument/2006/relationships/image" Target="../media/image3.emf"/><Relationship Id="rId3" Type="http://schemas.openxmlformats.org/officeDocument/2006/relationships/oleObject" Target="../embeddings/oleObject19.bin"/><Relationship Id="rId7" Type="http://schemas.openxmlformats.org/officeDocument/2006/relationships/image" Target="../media/image80.png"/><Relationship Id="rId12" Type="http://schemas.openxmlformats.org/officeDocument/2006/relationships/image" Target="../media/image75.svg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37.xml"/><Relationship Id="rId6" Type="http://schemas.openxmlformats.org/officeDocument/2006/relationships/image" Target="../media/image77.svg"/><Relationship Id="rId11" Type="http://schemas.openxmlformats.org/officeDocument/2006/relationships/image" Target="../media/image74.png"/><Relationship Id="rId5" Type="http://schemas.openxmlformats.org/officeDocument/2006/relationships/image" Target="../media/image76.png"/><Relationship Id="rId10" Type="http://schemas.openxmlformats.org/officeDocument/2006/relationships/image" Target="../media/image79.svg"/><Relationship Id="rId4" Type="http://schemas.openxmlformats.org/officeDocument/2006/relationships/image" Target="../media/image1.emf"/><Relationship Id="rId9" Type="http://schemas.openxmlformats.org/officeDocument/2006/relationships/image" Target="../media/image7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13" Type="http://schemas.openxmlformats.org/officeDocument/2006/relationships/image" Target="../media/image79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3.svg"/><Relationship Id="rId12" Type="http://schemas.openxmlformats.org/officeDocument/2006/relationships/image" Target="../media/image78.pn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7.xml"/><Relationship Id="rId6" Type="http://schemas.openxmlformats.org/officeDocument/2006/relationships/image" Target="../media/image72.png"/><Relationship Id="rId11" Type="http://schemas.openxmlformats.org/officeDocument/2006/relationships/image" Target="../media/image77.svg"/><Relationship Id="rId5" Type="http://schemas.openxmlformats.org/officeDocument/2006/relationships/image" Target="../media/image1.emf"/><Relationship Id="rId15" Type="http://schemas.openxmlformats.org/officeDocument/2006/relationships/image" Target="../media/image81.svg"/><Relationship Id="rId10" Type="http://schemas.openxmlformats.org/officeDocument/2006/relationships/image" Target="../media/image76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75.svg"/><Relationship Id="rId14" Type="http://schemas.openxmlformats.org/officeDocument/2006/relationships/image" Target="../media/image8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13" Type="http://schemas.openxmlformats.org/officeDocument/2006/relationships/image" Target="../media/image79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73.svg"/><Relationship Id="rId12" Type="http://schemas.openxmlformats.org/officeDocument/2006/relationships/image" Target="../media/image78.pn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6" Type="http://schemas.openxmlformats.org/officeDocument/2006/relationships/image" Target="../media/image72.png"/><Relationship Id="rId11" Type="http://schemas.openxmlformats.org/officeDocument/2006/relationships/image" Target="../media/image77.svg"/><Relationship Id="rId5" Type="http://schemas.openxmlformats.org/officeDocument/2006/relationships/image" Target="../media/image1.emf"/><Relationship Id="rId15" Type="http://schemas.openxmlformats.org/officeDocument/2006/relationships/image" Target="../media/image81.svg"/><Relationship Id="rId10" Type="http://schemas.openxmlformats.org/officeDocument/2006/relationships/image" Target="../media/image76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75.svg"/><Relationship Id="rId14" Type="http://schemas.openxmlformats.org/officeDocument/2006/relationships/image" Target="../media/image8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83.svg"/><Relationship Id="rId7" Type="http://schemas.openxmlformats.org/officeDocument/2006/relationships/image" Target="../media/image86.sv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5.png"/><Relationship Id="rId5" Type="http://schemas.openxmlformats.org/officeDocument/2006/relationships/image" Target="../media/image84.svg"/><Relationship Id="rId4" Type="http://schemas.openxmlformats.org/officeDocument/2006/relationships/image" Target="../media/image7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svg"/><Relationship Id="rId13" Type="http://schemas.openxmlformats.org/officeDocument/2006/relationships/image" Target="../media/image3.emf"/><Relationship Id="rId3" Type="http://schemas.openxmlformats.org/officeDocument/2006/relationships/oleObject" Target="../embeddings/oleObject11.bin"/><Relationship Id="rId7" Type="http://schemas.openxmlformats.org/officeDocument/2006/relationships/image" Target="../media/image80.png"/><Relationship Id="rId12" Type="http://schemas.openxmlformats.org/officeDocument/2006/relationships/image" Target="../media/image75.svg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29.xml"/><Relationship Id="rId6" Type="http://schemas.openxmlformats.org/officeDocument/2006/relationships/image" Target="../media/image77.svg"/><Relationship Id="rId11" Type="http://schemas.openxmlformats.org/officeDocument/2006/relationships/image" Target="../media/image74.png"/><Relationship Id="rId5" Type="http://schemas.openxmlformats.org/officeDocument/2006/relationships/image" Target="../media/image76.png"/><Relationship Id="rId10" Type="http://schemas.openxmlformats.org/officeDocument/2006/relationships/image" Target="../media/image79.svg"/><Relationship Id="rId4" Type="http://schemas.openxmlformats.org/officeDocument/2006/relationships/image" Target="../media/image1.emf"/><Relationship Id="rId9" Type="http://schemas.openxmlformats.org/officeDocument/2006/relationships/image" Target="../media/image7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8">
            <a:extLst>
              <a:ext uri="{FF2B5EF4-FFF2-40B4-BE49-F238E27FC236}">
                <a16:creationId xmlns:a16="http://schemas.microsoft.com/office/drawing/2014/main" id="{F84F267C-33BF-EEBB-4667-7ACC5F522542}"/>
              </a:ext>
            </a:extLst>
          </p:cNvPr>
          <p:cNvGrpSpPr/>
          <p:nvPr/>
        </p:nvGrpSpPr>
        <p:grpSpPr>
          <a:xfrm rot="18011585">
            <a:off x="6223000" y="509360"/>
            <a:ext cx="6640285" cy="6836228"/>
            <a:chOff x="5352836" y="79620"/>
            <a:chExt cx="2896636" cy="2960160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E9FCDE68-5AF6-F944-4A1C-24EAE380C9AB}"/>
                </a:ext>
              </a:extLst>
            </p:cNvPr>
            <p:cNvSpPr/>
            <p:nvPr/>
          </p:nvSpPr>
          <p:spPr>
            <a:xfrm>
              <a:off x="5352836" y="275269"/>
              <a:ext cx="2159765" cy="2764510"/>
            </a:xfrm>
            <a:custGeom>
              <a:avLst/>
              <a:gdLst>
                <a:gd name="connsiteX0" fmla="*/ 2108492 w 2159765"/>
                <a:gd name="connsiteY0" fmla="*/ 1782498 h 2764510"/>
                <a:gd name="connsiteX1" fmla="*/ 1960637 w 2159765"/>
                <a:gd name="connsiteY1" fmla="*/ 2315962 h 2764510"/>
                <a:gd name="connsiteX2" fmla="*/ 1276268 w 2159765"/>
                <a:gd name="connsiteY2" fmla="*/ 2711251 h 2764510"/>
                <a:gd name="connsiteX3" fmla="*/ 736452 w 2159765"/>
                <a:gd name="connsiteY3" fmla="*/ 2566724 h 2764510"/>
                <a:gd name="connsiteX4" fmla="*/ 737037 w 2159765"/>
                <a:gd name="connsiteY4" fmla="*/ 2170952 h 2764510"/>
                <a:gd name="connsiteX5" fmla="*/ 591646 w 2159765"/>
                <a:gd name="connsiteY5" fmla="*/ 1632432 h 2764510"/>
                <a:gd name="connsiteX6" fmla="*/ 395538 w 2159765"/>
                <a:gd name="connsiteY6" fmla="*/ 1579708 h 2764510"/>
                <a:gd name="connsiteX7" fmla="*/ 394395 w 2159765"/>
                <a:gd name="connsiteY7" fmla="*/ 1579708 h 2764510"/>
                <a:gd name="connsiteX8" fmla="*/ -589 w 2159765"/>
                <a:gd name="connsiteY8" fmla="*/ 1184350 h 2764510"/>
                <a:gd name="connsiteX9" fmla="*/ -1504 w 2159765"/>
                <a:gd name="connsiteY9" fmla="*/ 394618 h 2764510"/>
                <a:gd name="connsiteX10" fmla="*/ -1504 w 2159765"/>
                <a:gd name="connsiteY10" fmla="*/ 394618 h 2764510"/>
                <a:gd name="connsiteX11" fmla="*/ 51347 w 2159765"/>
                <a:gd name="connsiteY11" fmla="*/ 197185 h 2764510"/>
                <a:gd name="connsiteX12" fmla="*/ 591163 w 2159765"/>
                <a:gd name="connsiteY12" fmla="*/ 52648 h 2764510"/>
                <a:gd name="connsiteX13" fmla="*/ 1960637 w 2159765"/>
                <a:gd name="connsiteY13" fmla="*/ 842380 h 2764510"/>
                <a:gd name="connsiteX14" fmla="*/ 2105265 w 2159765"/>
                <a:gd name="connsiteY14" fmla="*/ 1381784 h 2764510"/>
                <a:gd name="connsiteX15" fmla="*/ 2104045 w 2159765"/>
                <a:gd name="connsiteY15" fmla="*/ 1774672 h 2764510"/>
                <a:gd name="connsiteX16" fmla="*/ 2108492 w 2159765"/>
                <a:gd name="connsiteY16" fmla="*/ 1782498 h 276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59765" h="2764510">
                  <a:moveTo>
                    <a:pt x="2108492" y="1782498"/>
                  </a:moveTo>
                  <a:cubicBezTo>
                    <a:pt x="2212949" y="1970474"/>
                    <a:pt x="2147673" y="2208126"/>
                    <a:pt x="1960637" y="2315962"/>
                  </a:cubicBezTo>
                  <a:lnTo>
                    <a:pt x="1276268" y="2711251"/>
                  </a:lnTo>
                  <a:cubicBezTo>
                    <a:pt x="1087250" y="2820256"/>
                    <a:pt x="845610" y="2755590"/>
                    <a:pt x="736452" y="2566724"/>
                  </a:cubicBezTo>
                  <a:cubicBezTo>
                    <a:pt x="663096" y="2439780"/>
                    <a:pt x="668458" y="2289155"/>
                    <a:pt x="737037" y="2170952"/>
                  </a:cubicBezTo>
                  <a:cubicBezTo>
                    <a:pt x="845711" y="1982137"/>
                    <a:pt x="780410" y="1741361"/>
                    <a:pt x="591646" y="1632432"/>
                  </a:cubicBezTo>
                  <a:cubicBezTo>
                    <a:pt x="529648" y="1596656"/>
                    <a:pt x="462314" y="1579784"/>
                    <a:pt x="395538" y="1579708"/>
                  </a:cubicBezTo>
                  <a:cubicBezTo>
                    <a:pt x="395132" y="1579708"/>
                    <a:pt x="394801" y="1579708"/>
                    <a:pt x="394395" y="1579708"/>
                  </a:cubicBezTo>
                  <a:cubicBezTo>
                    <a:pt x="176156" y="1579708"/>
                    <a:pt x="-589" y="1402434"/>
                    <a:pt x="-589" y="1184350"/>
                  </a:cubicBezTo>
                  <a:lnTo>
                    <a:pt x="-1504" y="394618"/>
                  </a:lnTo>
                  <a:lnTo>
                    <a:pt x="-1504" y="394618"/>
                  </a:lnTo>
                  <a:cubicBezTo>
                    <a:pt x="-1504" y="327490"/>
                    <a:pt x="15368" y="259460"/>
                    <a:pt x="51347" y="197185"/>
                  </a:cubicBezTo>
                  <a:cubicBezTo>
                    <a:pt x="160428" y="8306"/>
                    <a:pt x="402145" y="-56352"/>
                    <a:pt x="591163" y="52648"/>
                  </a:cubicBezTo>
                  <a:lnTo>
                    <a:pt x="1960637" y="842380"/>
                  </a:lnTo>
                  <a:cubicBezTo>
                    <a:pt x="2149655" y="951380"/>
                    <a:pt x="2214347" y="1192908"/>
                    <a:pt x="2105265" y="1381784"/>
                  </a:cubicBezTo>
                  <a:cubicBezTo>
                    <a:pt x="2032748" y="1507320"/>
                    <a:pt x="2037524" y="1657028"/>
                    <a:pt x="2104045" y="1774672"/>
                  </a:cubicBezTo>
                  <a:lnTo>
                    <a:pt x="2108492" y="1782498"/>
                  </a:lnTo>
                  <a:close/>
                </a:path>
              </a:pathLst>
            </a:custGeom>
            <a:gradFill flip="none" rotWithShape="1">
              <a:gsLst>
                <a:gs pos="68000">
                  <a:srgbClr val="2DCCD2"/>
                </a:gs>
                <a:gs pos="18000">
                  <a:srgbClr val="A1FC7D"/>
                </a:gs>
              </a:gsLst>
              <a:lin ang="2700000" scaled="1"/>
              <a:tileRect/>
            </a:gra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D09A1BE2-6F58-654D-E079-E86E376C8DD2}"/>
                </a:ext>
              </a:extLst>
            </p:cNvPr>
            <p:cNvSpPr/>
            <p:nvPr/>
          </p:nvSpPr>
          <p:spPr>
            <a:xfrm>
              <a:off x="6038881" y="79620"/>
              <a:ext cx="2210590" cy="2566313"/>
            </a:xfrm>
            <a:custGeom>
              <a:avLst/>
              <a:gdLst>
                <a:gd name="connsiteX0" fmla="*/ 2103436 w 2210590"/>
                <a:gd name="connsiteY0" fmla="*/ 1577934 h 2566313"/>
                <a:gd name="connsiteX1" fmla="*/ 2094289 w 2210590"/>
                <a:gd name="connsiteY1" fmla="*/ 1200289 h 2566313"/>
                <a:gd name="connsiteX2" fmla="*/ 2209087 w 2210590"/>
                <a:gd name="connsiteY2" fmla="*/ 789884 h 2566313"/>
                <a:gd name="connsiteX3" fmla="*/ 1419093 w 2210590"/>
                <a:gd name="connsiteY3" fmla="*/ -305 h 2566313"/>
                <a:gd name="connsiteX4" fmla="*/ 749640 w 2210590"/>
                <a:gd name="connsiteY4" fmla="*/ 370261 h 2566313"/>
                <a:gd name="connsiteX5" fmla="*/ 735588 w 2210590"/>
                <a:gd name="connsiteY5" fmla="*/ 392979 h 2566313"/>
                <a:gd name="connsiteX6" fmla="*/ 735588 w 2210590"/>
                <a:gd name="connsiteY6" fmla="*/ 392979 h 2566313"/>
                <a:gd name="connsiteX7" fmla="*/ 394649 w 2210590"/>
                <a:gd name="connsiteY7" fmla="*/ 590527 h 2566313"/>
                <a:gd name="connsiteX8" fmla="*/ 394649 w 2210590"/>
                <a:gd name="connsiteY8" fmla="*/ 590527 h 2566313"/>
                <a:gd name="connsiteX9" fmla="*/ -1504 w 2210590"/>
                <a:gd name="connsiteY9" fmla="*/ 985621 h 2566313"/>
                <a:gd name="connsiteX10" fmla="*/ 393506 w 2210590"/>
                <a:gd name="connsiteY10" fmla="*/ 1380717 h 2566313"/>
                <a:gd name="connsiteX11" fmla="*/ 393506 w 2210590"/>
                <a:gd name="connsiteY11" fmla="*/ 1380717 h 2566313"/>
                <a:gd name="connsiteX12" fmla="*/ 590985 w 2210590"/>
                <a:gd name="connsiteY12" fmla="*/ 1433644 h 2566313"/>
                <a:gd name="connsiteX13" fmla="*/ 736071 w 2210590"/>
                <a:gd name="connsiteY13" fmla="*/ 1972380 h 2566313"/>
                <a:gd name="connsiteX14" fmla="*/ 735487 w 2210590"/>
                <a:gd name="connsiteY14" fmla="*/ 2368380 h 2566313"/>
                <a:gd name="connsiteX15" fmla="*/ 1275176 w 2210590"/>
                <a:gd name="connsiteY15" fmla="*/ 2512984 h 2566313"/>
                <a:gd name="connsiteX16" fmla="*/ 1959239 w 2210590"/>
                <a:gd name="connsiteY16" fmla="*/ 2117898 h 2566313"/>
                <a:gd name="connsiteX17" fmla="*/ 1959239 w 2210590"/>
                <a:gd name="connsiteY17" fmla="*/ 2117898 h 2566313"/>
                <a:gd name="connsiteX18" fmla="*/ 2147038 w 2210590"/>
                <a:gd name="connsiteY18" fmla="*/ 1862740 h 2566313"/>
                <a:gd name="connsiteX19" fmla="*/ 2103512 w 2210590"/>
                <a:gd name="connsiteY19" fmla="*/ 1577853 h 2566313"/>
                <a:gd name="connsiteX20" fmla="*/ 2103512 w 2210590"/>
                <a:gd name="connsiteY20" fmla="*/ 1577853 h 256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10590" h="2566313">
                  <a:moveTo>
                    <a:pt x="2103436" y="1577934"/>
                  </a:moveTo>
                  <a:cubicBezTo>
                    <a:pt x="2033891" y="1457432"/>
                    <a:pt x="2035364" y="1315609"/>
                    <a:pt x="2094289" y="1200289"/>
                  </a:cubicBezTo>
                  <a:cubicBezTo>
                    <a:pt x="2167111" y="1080691"/>
                    <a:pt x="2209087" y="940184"/>
                    <a:pt x="2209087" y="789884"/>
                  </a:cubicBezTo>
                  <a:cubicBezTo>
                    <a:pt x="2209087" y="353468"/>
                    <a:pt x="1855392" y="-305"/>
                    <a:pt x="1419093" y="-305"/>
                  </a:cubicBezTo>
                  <a:cubicBezTo>
                    <a:pt x="1136925" y="-305"/>
                    <a:pt x="889390" y="147690"/>
                    <a:pt x="749640" y="370261"/>
                  </a:cubicBezTo>
                  <a:cubicBezTo>
                    <a:pt x="744710" y="377668"/>
                    <a:pt x="740035" y="385242"/>
                    <a:pt x="735588" y="392979"/>
                  </a:cubicBezTo>
                  <a:lnTo>
                    <a:pt x="735588" y="392979"/>
                  </a:lnTo>
                  <a:cubicBezTo>
                    <a:pt x="662664" y="519245"/>
                    <a:pt x="530588" y="590032"/>
                    <a:pt x="394649" y="590527"/>
                  </a:cubicBezTo>
                  <a:cubicBezTo>
                    <a:pt x="394243" y="590527"/>
                    <a:pt x="395056" y="590527"/>
                    <a:pt x="394649" y="590527"/>
                  </a:cubicBezTo>
                  <a:cubicBezTo>
                    <a:pt x="176487" y="590527"/>
                    <a:pt x="-1504" y="767413"/>
                    <a:pt x="-1504" y="985621"/>
                  </a:cubicBezTo>
                  <a:cubicBezTo>
                    <a:pt x="-1504" y="1203829"/>
                    <a:pt x="175343" y="1380717"/>
                    <a:pt x="393506" y="1380717"/>
                  </a:cubicBezTo>
                  <a:cubicBezTo>
                    <a:pt x="393836" y="1380717"/>
                    <a:pt x="393175" y="1380717"/>
                    <a:pt x="393506" y="1380717"/>
                  </a:cubicBezTo>
                  <a:cubicBezTo>
                    <a:pt x="460306" y="1380798"/>
                    <a:pt x="528936" y="1397837"/>
                    <a:pt x="590985" y="1433644"/>
                  </a:cubicBezTo>
                  <a:cubicBezTo>
                    <a:pt x="779597" y="1542542"/>
                    <a:pt x="844364" y="1783540"/>
                    <a:pt x="736071" y="1972380"/>
                  </a:cubicBezTo>
                  <a:cubicBezTo>
                    <a:pt x="667441" y="2090735"/>
                    <a:pt x="662181" y="2241437"/>
                    <a:pt x="735487" y="2368380"/>
                  </a:cubicBezTo>
                  <a:cubicBezTo>
                    <a:pt x="844542" y="2557348"/>
                    <a:pt x="1086234" y="2622141"/>
                    <a:pt x="1275176" y="2512984"/>
                  </a:cubicBezTo>
                  <a:lnTo>
                    <a:pt x="1959239" y="2117898"/>
                  </a:lnTo>
                  <a:lnTo>
                    <a:pt x="1959239" y="2117898"/>
                  </a:lnTo>
                  <a:cubicBezTo>
                    <a:pt x="2051347" y="2064716"/>
                    <a:pt x="2121781" y="1974667"/>
                    <a:pt x="2147038" y="1862740"/>
                  </a:cubicBezTo>
                  <a:cubicBezTo>
                    <a:pt x="2169830" y="1761655"/>
                    <a:pt x="2151637" y="1660905"/>
                    <a:pt x="2103512" y="1577853"/>
                  </a:cubicBezTo>
                  <a:lnTo>
                    <a:pt x="2103512" y="1577853"/>
                  </a:lnTo>
                  <a:close/>
                </a:path>
              </a:pathLst>
            </a:custGeom>
            <a:gradFill>
              <a:gsLst>
                <a:gs pos="81000">
                  <a:srgbClr val="F2A61C"/>
                </a:gs>
                <a:gs pos="33000">
                  <a:srgbClr val="B21877"/>
                </a:gs>
              </a:gsLst>
              <a:lin ang="2700000" scaled="1"/>
            </a:gra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FA20687-5682-3420-8A36-C8D45C866E3B}"/>
                </a:ext>
              </a:extLst>
            </p:cNvPr>
            <p:cNvSpPr/>
            <p:nvPr/>
          </p:nvSpPr>
          <p:spPr>
            <a:xfrm>
              <a:off x="6038881" y="658947"/>
              <a:ext cx="1473728" cy="1986988"/>
            </a:xfrm>
            <a:custGeom>
              <a:avLst/>
              <a:gdLst>
                <a:gd name="connsiteX0" fmla="*/ 1274718 w 1473728"/>
                <a:gd name="connsiteY0" fmla="*/ 457798 h 1986988"/>
                <a:gd name="connsiteX1" fmla="*/ 481777 w 1473728"/>
                <a:gd name="connsiteY1" fmla="*/ -305 h 1986988"/>
                <a:gd name="connsiteX2" fmla="*/ 394547 w 1473728"/>
                <a:gd name="connsiteY2" fmla="*/ 9991 h 1986988"/>
                <a:gd name="connsiteX3" fmla="*/ -1504 w 1473728"/>
                <a:gd name="connsiteY3" fmla="*/ 405333 h 1986988"/>
                <a:gd name="connsiteX4" fmla="*/ 393404 w 1473728"/>
                <a:gd name="connsiteY4" fmla="*/ 800673 h 1986988"/>
                <a:gd name="connsiteX5" fmla="*/ 590858 w 1473728"/>
                <a:gd name="connsiteY5" fmla="*/ 853633 h 1986988"/>
                <a:gd name="connsiteX6" fmla="*/ 735919 w 1473728"/>
                <a:gd name="connsiteY6" fmla="*/ 1392697 h 1986988"/>
                <a:gd name="connsiteX7" fmla="*/ 735334 w 1473728"/>
                <a:gd name="connsiteY7" fmla="*/ 1788952 h 1986988"/>
                <a:gd name="connsiteX8" fmla="*/ 1258761 w 1473728"/>
                <a:gd name="connsiteY8" fmla="*/ 1942473 h 1986988"/>
                <a:gd name="connsiteX9" fmla="*/ 1274718 w 1473728"/>
                <a:gd name="connsiteY9" fmla="*/ 1933250 h 1986988"/>
                <a:gd name="connsiteX10" fmla="*/ 1422472 w 1473728"/>
                <a:gd name="connsiteY10" fmla="*/ 1399126 h 1986988"/>
                <a:gd name="connsiteX11" fmla="*/ 1418025 w 1473728"/>
                <a:gd name="connsiteY11" fmla="*/ 1391300 h 1986988"/>
                <a:gd name="connsiteX12" fmla="*/ 1419270 w 1473728"/>
                <a:gd name="connsiteY12" fmla="*/ 997934 h 1986988"/>
                <a:gd name="connsiteX13" fmla="*/ 1274718 w 1473728"/>
                <a:gd name="connsiteY13" fmla="*/ 457879 h 198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73728" h="1986988">
                  <a:moveTo>
                    <a:pt x="1274718" y="457798"/>
                  </a:moveTo>
                  <a:lnTo>
                    <a:pt x="481777" y="-305"/>
                  </a:lnTo>
                  <a:cubicBezTo>
                    <a:pt x="453217" y="6284"/>
                    <a:pt x="424022" y="9910"/>
                    <a:pt x="394547" y="9991"/>
                  </a:cubicBezTo>
                  <a:cubicBezTo>
                    <a:pt x="176461" y="9991"/>
                    <a:pt x="-1504" y="186988"/>
                    <a:pt x="-1504" y="405333"/>
                  </a:cubicBezTo>
                  <a:cubicBezTo>
                    <a:pt x="-1504" y="623676"/>
                    <a:pt x="175292" y="800673"/>
                    <a:pt x="393404" y="800673"/>
                  </a:cubicBezTo>
                  <a:cubicBezTo>
                    <a:pt x="460204" y="800757"/>
                    <a:pt x="528834" y="817807"/>
                    <a:pt x="590858" y="853633"/>
                  </a:cubicBezTo>
                  <a:cubicBezTo>
                    <a:pt x="779419" y="962598"/>
                    <a:pt x="844187" y="1203755"/>
                    <a:pt x="735919" y="1392697"/>
                  </a:cubicBezTo>
                  <a:cubicBezTo>
                    <a:pt x="667289" y="1511129"/>
                    <a:pt x="662029" y="1661932"/>
                    <a:pt x="735334" y="1788952"/>
                  </a:cubicBezTo>
                  <a:cubicBezTo>
                    <a:pt x="841290" y="1972685"/>
                    <a:pt x="1072487" y="2039079"/>
                    <a:pt x="1258761" y="1942473"/>
                  </a:cubicBezTo>
                  <a:lnTo>
                    <a:pt x="1274718" y="1933250"/>
                  </a:lnTo>
                  <a:cubicBezTo>
                    <a:pt x="1461628" y="1825185"/>
                    <a:pt x="1526878" y="1587331"/>
                    <a:pt x="1422472" y="1399126"/>
                  </a:cubicBezTo>
                  <a:lnTo>
                    <a:pt x="1418025" y="1391300"/>
                  </a:lnTo>
                  <a:cubicBezTo>
                    <a:pt x="1351555" y="1273427"/>
                    <a:pt x="1346778" y="1123536"/>
                    <a:pt x="1419270" y="997934"/>
                  </a:cubicBezTo>
                  <a:cubicBezTo>
                    <a:pt x="1528276" y="808827"/>
                    <a:pt x="1463610" y="567093"/>
                    <a:pt x="1274718" y="457879"/>
                  </a:cubicBezTo>
                  <a:close/>
                </a:path>
              </a:pathLst>
            </a:custGeom>
            <a:solidFill>
              <a:srgbClr val="C21D3F">
                <a:alpha val="53000"/>
              </a:srgbClr>
            </a:soli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6" name="Subtitle 2">
            <a:extLst>
              <a:ext uri="{FF2B5EF4-FFF2-40B4-BE49-F238E27FC236}">
                <a16:creationId xmlns:a16="http://schemas.microsoft.com/office/drawing/2014/main" id="{5777C482-A605-49D3-7A7A-E6D63C433DDA}"/>
              </a:ext>
            </a:extLst>
          </p:cNvPr>
          <p:cNvSpPr txBox="1">
            <a:spLocks/>
          </p:cNvSpPr>
          <p:nvPr/>
        </p:nvSpPr>
        <p:spPr>
          <a:xfrm>
            <a:off x="604838" y="3990974"/>
            <a:ext cx="4510395" cy="10477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2000" b="1" kern="1200">
                <a:solidFill>
                  <a:srgbClr val="0460A9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5000"/>
              </a:lnSpc>
              <a:spcBef>
                <a:spcPts val="7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Ping LCG Medium" pitchFamily="50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0" lang="en-GB" sz="2000" i="0" u="none" strike="noStrike" kern="1200" cap="none" spc="0" normalizeH="0" baseline="0" noProof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rberto Aranzabal Garcia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>
                <a:latin typeface="Arial" panose="020B0604020202020204"/>
              </a:rPr>
              <a:t>Manuela Londoño Florez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0">
                <a:latin typeface="Arial" panose="020B0604020202020204"/>
              </a:rPr>
              <a:t>Sept 2024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598B9C8-77A8-3058-6E2A-F270B3CB745E}"/>
              </a:ext>
            </a:extLst>
          </p:cNvPr>
          <p:cNvSpPr txBox="1">
            <a:spLocks/>
          </p:cNvSpPr>
          <p:nvPr/>
        </p:nvSpPr>
        <p:spPr>
          <a:xfrm>
            <a:off x="604838" y="1376363"/>
            <a:ext cx="5861276" cy="22763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 spc="-100" baseline="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1" i="0" u="none" strike="noStrike" kern="1200" cap="none" spc="-100" normalizeH="0" baseline="0" noProof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argeting, Segmentation &amp; Tierin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9701DD6-8F75-6CFE-8CAF-EEDDBA2660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736413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CB9E1FAE-AE79-A8A9-3ACC-8D35117EF3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9E1FAE-AE79-A8A9-3ACC-8D35117EF3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8C6AD3C6-5432-5F05-2D52-D055DEBFB3D6}"/>
              </a:ext>
            </a:extLst>
          </p:cNvPr>
          <p:cNvSpPr txBox="1">
            <a:spLocks/>
          </p:cNvSpPr>
          <p:nvPr/>
        </p:nvSpPr>
        <p:spPr>
          <a:xfrm>
            <a:off x="542621" y="205495"/>
            <a:ext cx="11512326" cy="5551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KISQALI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TAGE: Growth</a:t>
            </a:r>
            <a:b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</a:br>
            <a:endParaRPr kumimoji="0" lang="en-IN" sz="30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1EC57E09-C49C-95C1-239C-50CBBAFFCF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185044"/>
              </p:ext>
            </p:extLst>
          </p:nvPr>
        </p:nvGraphicFramePr>
        <p:xfrm>
          <a:off x="8263337" y="2316634"/>
          <a:ext cx="3637443" cy="2028788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Innova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ig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25% CDKS ABEMA-RIBO VS PALBOCICLIB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edium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%-25% CDKS ABEMA-RIBO VS PALBOCICLIB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w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-10% CDKS ABEMA-RIBO VS PALBOCICLIB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1938BD33-49DE-A7DB-A859-906CC0BAEF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2348186"/>
              </p:ext>
            </p:extLst>
          </p:nvPr>
        </p:nvGraphicFramePr>
        <p:xfrm>
          <a:off x="439896" y="2316634"/>
          <a:ext cx="2111521" cy="1732747"/>
        </p:xfrm>
        <a:graphic>
          <a:graphicData uri="http://schemas.openxmlformats.org/drawingml/2006/table">
            <a:tbl>
              <a:tblPr/>
              <a:tblGrid>
                <a:gridCol w="1239763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871758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Market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bemaciclib</a:t>
                      </a:r>
                    </a:p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albociclib</a:t>
                      </a:r>
                    </a:p>
                    <a:p>
                      <a:pPr algn="ctr" fontAlgn="ctr"/>
                      <a:r>
                        <a:rPr lang="en-IN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ibociclib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  <a:p>
                      <a:pPr algn="ctr" fontAlgn="ctr"/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  <a:p>
                      <a:pPr algn="ctr" fontAlgn="ctr"/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f</a:t>
                      </a:r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escriptions</a:t>
                      </a:r>
                      <a:endParaRPr lang="es-MX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AE0BC4B5-E99B-8968-189E-0DEA73C20346}"/>
              </a:ext>
            </a:extLst>
          </p:cNvPr>
          <p:cNvGraphicFramePr>
            <a:graphicFrameLocks noGrp="1"/>
          </p:cNvGraphicFramePr>
          <p:nvPr/>
        </p:nvGraphicFramePr>
        <p:xfrm>
          <a:off x="2649579" y="2316634"/>
          <a:ext cx="1769638" cy="2535985"/>
        </p:xfrm>
        <a:graphic>
          <a:graphicData uri="http://schemas.openxmlformats.org/drawingml/2006/table">
            <a:tbl>
              <a:tblPr/>
              <a:tblGrid>
                <a:gridCol w="1115642">
                  <a:extLst>
                    <a:ext uri="{9D8B030D-6E8A-4147-A177-3AD203B41FA5}">
                      <a16:colId xmlns:a16="http://schemas.microsoft.com/office/drawing/2014/main" val="2321963324"/>
                    </a:ext>
                  </a:extLst>
                </a:gridCol>
                <a:gridCol w="653996">
                  <a:extLst>
                    <a:ext uri="{9D8B030D-6E8A-4147-A177-3AD203B41FA5}">
                      <a16:colId xmlns:a16="http://schemas.microsoft.com/office/drawing/2014/main" val="3973014528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Profil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3006088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Oncolog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388667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Gynecolog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6601028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Haematolog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870216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Oth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5069074"/>
                  </a:ext>
                </a:extLst>
              </a:tr>
            </a:tbl>
          </a:graphicData>
        </a:graphic>
      </p:graphicFrame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FA7CF23F-E99C-4A58-C731-80DC1880DFE5}"/>
              </a:ext>
            </a:extLst>
          </p:cNvPr>
          <p:cNvGraphicFramePr>
            <a:graphicFrameLocks noGrp="1"/>
          </p:cNvGraphicFramePr>
          <p:nvPr/>
        </p:nvGraphicFramePr>
        <p:xfrm>
          <a:off x="4517379" y="2316634"/>
          <a:ext cx="3637443" cy="3008502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4725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Y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75%-10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ANS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50%-75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25%-5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%-25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654914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 PRESCRIBE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153025"/>
                  </a:ext>
                </a:extLst>
              </a:tr>
            </a:tbl>
          </a:graphicData>
        </a:graphic>
      </p:graphicFrame>
      <p:grpSp>
        <p:nvGrpSpPr>
          <p:cNvPr id="55" name="Group 54">
            <a:extLst>
              <a:ext uri="{FF2B5EF4-FFF2-40B4-BE49-F238E27FC236}">
                <a16:creationId xmlns:a16="http://schemas.microsoft.com/office/drawing/2014/main" id="{7727BAE2-FE32-DC9A-FDDE-BE3FCABE3E12}"/>
              </a:ext>
            </a:extLst>
          </p:cNvPr>
          <p:cNvGrpSpPr/>
          <p:nvPr/>
        </p:nvGrpSpPr>
        <p:grpSpPr>
          <a:xfrm>
            <a:off x="435736" y="1008713"/>
            <a:ext cx="11516974" cy="841543"/>
            <a:chOff x="435736" y="1008713"/>
            <a:chExt cx="11516974" cy="841543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6A0924A2-1024-3D34-47EF-100A646B944F}"/>
                </a:ext>
              </a:extLst>
            </p:cNvPr>
            <p:cNvSpPr/>
            <p:nvPr/>
          </p:nvSpPr>
          <p:spPr>
            <a:xfrm>
              <a:off x="440384" y="1028375"/>
              <a:ext cx="11512326" cy="406537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57" name="Graphic 56" descr="User with solid fill">
              <a:extLst>
                <a:ext uri="{FF2B5EF4-FFF2-40B4-BE49-F238E27FC236}">
                  <a16:creationId xmlns:a16="http://schemas.microsoft.com/office/drawing/2014/main" id="{12733BDA-B0CA-C533-2C80-B39630C3A1D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4670386" y="1014600"/>
              <a:ext cx="349338" cy="394250"/>
            </a:xfrm>
            <a:prstGeom prst="rect">
              <a:avLst/>
            </a:prstGeom>
          </p:spPr>
        </p:pic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F40D7D0-D97A-4AC0-913E-51F11A96BBBE}"/>
                </a:ext>
              </a:extLst>
            </p:cNvPr>
            <p:cNvSpPr/>
            <p:nvPr/>
          </p:nvSpPr>
          <p:spPr>
            <a:xfrm>
              <a:off x="9372599" y="1014119"/>
              <a:ext cx="2569605" cy="406537"/>
            </a:xfrm>
            <a:prstGeom prst="rect">
              <a:avLst/>
            </a:prstGeom>
            <a:solidFill>
              <a:srgbClr val="27531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FF335F6-2092-5D48-93E0-041C33224EFF}"/>
                </a:ext>
              </a:extLst>
            </p:cNvPr>
            <p:cNvSpPr/>
            <p:nvPr/>
          </p:nvSpPr>
          <p:spPr>
            <a:xfrm>
              <a:off x="4572615" y="1087934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rofile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5E87BF57-6DA3-62B1-45CD-4D03429ABBED}"/>
                </a:ext>
              </a:extLst>
            </p:cNvPr>
            <p:cNvSpPr/>
            <p:nvPr/>
          </p:nvSpPr>
          <p:spPr>
            <a:xfrm>
              <a:off x="9918234" y="1038759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Innovation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54B2B8C-5298-9F2A-EA67-0FC5DD23AA2F}"/>
                </a:ext>
              </a:extLst>
            </p:cNvPr>
            <p:cNvSpPr txBox="1"/>
            <p:nvPr/>
          </p:nvSpPr>
          <p:spPr>
            <a:xfrm>
              <a:off x="2162875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4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DE6B487E-2B14-6B69-E850-653DE8FC9AB2}"/>
                </a:ext>
              </a:extLst>
            </p:cNvPr>
            <p:cNvSpPr txBox="1"/>
            <p:nvPr/>
          </p:nvSpPr>
          <p:spPr>
            <a:xfrm>
              <a:off x="10429787" y="1470549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2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D58C9F28-07FB-6239-DBCB-F36EE8E487CF}"/>
                </a:ext>
              </a:extLst>
            </p:cNvPr>
            <p:cNvSpPr txBox="1"/>
            <p:nvPr/>
          </p:nvSpPr>
          <p:spPr>
            <a:xfrm>
              <a:off x="5217515" y="1480924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1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F1C7EB96-3B6E-D90F-1F09-5B5DE78A35C1}"/>
                </a:ext>
              </a:extLst>
            </p:cNvPr>
            <p:cNvSpPr/>
            <p:nvPr/>
          </p:nvSpPr>
          <p:spPr>
            <a:xfrm>
              <a:off x="6095999" y="1008713"/>
              <a:ext cx="3276599" cy="415238"/>
            </a:xfrm>
            <a:prstGeom prst="rect">
              <a:avLst/>
            </a:prstGeom>
            <a:solidFill>
              <a:srgbClr val="022A4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           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Adoption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99C5682-5515-7CF1-5F38-234FC5BE839A}"/>
                </a:ext>
              </a:extLst>
            </p:cNvPr>
            <p:cNvSpPr txBox="1"/>
            <p:nvPr/>
          </p:nvSpPr>
          <p:spPr>
            <a:xfrm>
              <a:off x="7734298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3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66" name="Graphic 65" descr="DNA with solid fill">
              <a:extLst>
                <a:ext uri="{FF2B5EF4-FFF2-40B4-BE49-F238E27FC236}">
                  <a16:creationId xmlns:a16="http://schemas.microsoft.com/office/drawing/2014/main" id="{E9245180-B87E-7BCC-FD62-B328B2DD8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9532624">
              <a:off x="9866010" y="1052080"/>
              <a:ext cx="351019" cy="351019"/>
            </a:xfrm>
            <a:prstGeom prst="rect">
              <a:avLst/>
            </a:prstGeom>
          </p:spPr>
        </p:pic>
        <p:pic>
          <p:nvPicPr>
            <p:cNvPr id="67" name="Graphic 66" descr="First aid kit with solid fill">
              <a:extLst>
                <a:ext uri="{FF2B5EF4-FFF2-40B4-BE49-F238E27FC236}">
                  <a16:creationId xmlns:a16="http://schemas.microsoft.com/office/drawing/2014/main" id="{B0404BEF-F9BB-ABC8-65FB-05FF2CD13A7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298784" y="1038759"/>
              <a:ext cx="312298" cy="358409"/>
            </a:xfrm>
            <a:prstGeom prst="rect">
              <a:avLst/>
            </a:prstGeom>
          </p:spPr>
        </p:pic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C091E03D-9227-6BB3-431D-00595CF52C34}"/>
                </a:ext>
              </a:extLst>
            </p:cNvPr>
            <p:cNvSpPr/>
            <p:nvPr/>
          </p:nvSpPr>
          <p:spPr>
            <a:xfrm>
              <a:off x="435736" y="1025080"/>
              <a:ext cx="4203500" cy="41523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innerShdw blurRad="63500" dist="508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69" name="Graphic 68" descr="Mountains with solid fill">
              <a:extLst>
                <a:ext uri="{FF2B5EF4-FFF2-40B4-BE49-F238E27FC236}">
                  <a16:creationId xmlns:a16="http://schemas.microsoft.com/office/drawing/2014/main" id="{1F472E8E-EAED-71A3-0380-C48BDBCA1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021797" y="1014119"/>
              <a:ext cx="341338" cy="394252"/>
            </a:xfrm>
            <a:prstGeom prst="rect">
              <a:avLst/>
            </a:prstGeom>
          </p:spPr>
        </p:pic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1B6CD9DF-BDFD-200F-6340-7ACC627B3A55}"/>
                </a:ext>
              </a:extLst>
            </p:cNvPr>
            <p:cNvSpPr/>
            <p:nvPr/>
          </p:nvSpPr>
          <p:spPr>
            <a:xfrm>
              <a:off x="1988866" y="1080651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otential</a:t>
              </a: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80EF6712-18F2-56CB-564B-7184939D912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911225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8">
            <a:extLst>
              <a:ext uri="{FF2B5EF4-FFF2-40B4-BE49-F238E27FC236}">
                <a16:creationId xmlns:a16="http://schemas.microsoft.com/office/drawing/2014/main" id="{F84F267C-33BF-EEBB-4667-7ACC5F522542}"/>
              </a:ext>
            </a:extLst>
          </p:cNvPr>
          <p:cNvGrpSpPr/>
          <p:nvPr/>
        </p:nvGrpSpPr>
        <p:grpSpPr>
          <a:xfrm rot="18011585">
            <a:off x="6223000" y="509360"/>
            <a:ext cx="6640285" cy="6836228"/>
            <a:chOff x="5352836" y="79620"/>
            <a:chExt cx="2896636" cy="2960160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E9FCDE68-5AF6-F944-4A1C-24EAE380C9AB}"/>
                </a:ext>
              </a:extLst>
            </p:cNvPr>
            <p:cNvSpPr/>
            <p:nvPr/>
          </p:nvSpPr>
          <p:spPr>
            <a:xfrm>
              <a:off x="5352836" y="275269"/>
              <a:ext cx="2159765" cy="2764510"/>
            </a:xfrm>
            <a:custGeom>
              <a:avLst/>
              <a:gdLst>
                <a:gd name="connsiteX0" fmla="*/ 2108492 w 2159765"/>
                <a:gd name="connsiteY0" fmla="*/ 1782498 h 2764510"/>
                <a:gd name="connsiteX1" fmla="*/ 1960637 w 2159765"/>
                <a:gd name="connsiteY1" fmla="*/ 2315962 h 2764510"/>
                <a:gd name="connsiteX2" fmla="*/ 1276268 w 2159765"/>
                <a:gd name="connsiteY2" fmla="*/ 2711251 h 2764510"/>
                <a:gd name="connsiteX3" fmla="*/ 736452 w 2159765"/>
                <a:gd name="connsiteY3" fmla="*/ 2566724 h 2764510"/>
                <a:gd name="connsiteX4" fmla="*/ 737037 w 2159765"/>
                <a:gd name="connsiteY4" fmla="*/ 2170952 h 2764510"/>
                <a:gd name="connsiteX5" fmla="*/ 591646 w 2159765"/>
                <a:gd name="connsiteY5" fmla="*/ 1632432 h 2764510"/>
                <a:gd name="connsiteX6" fmla="*/ 395538 w 2159765"/>
                <a:gd name="connsiteY6" fmla="*/ 1579708 h 2764510"/>
                <a:gd name="connsiteX7" fmla="*/ 394395 w 2159765"/>
                <a:gd name="connsiteY7" fmla="*/ 1579708 h 2764510"/>
                <a:gd name="connsiteX8" fmla="*/ -589 w 2159765"/>
                <a:gd name="connsiteY8" fmla="*/ 1184350 h 2764510"/>
                <a:gd name="connsiteX9" fmla="*/ -1504 w 2159765"/>
                <a:gd name="connsiteY9" fmla="*/ 394618 h 2764510"/>
                <a:gd name="connsiteX10" fmla="*/ -1504 w 2159765"/>
                <a:gd name="connsiteY10" fmla="*/ 394618 h 2764510"/>
                <a:gd name="connsiteX11" fmla="*/ 51347 w 2159765"/>
                <a:gd name="connsiteY11" fmla="*/ 197185 h 2764510"/>
                <a:gd name="connsiteX12" fmla="*/ 591163 w 2159765"/>
                <a:gd name="connsiteY12" fmla="*/ 52648 h 2764510"/>
                <a:gd name="connsiteX13" fmla="*/ 1960637 w 2159765"/>
                <a:gd name="connsiteY13" fmla="*/ 842380 h 2764510"/>
                <a:gd name="connsiteX14" fmla="*/ 2105265 w 2159765"/>
                <a:gd name="connsiteY14" fmla="*/ 1381784 h 2764510"/>
                <a:gd name="connsiteX15" fmla="*/ 2104045 w 2159765"/>
                <a:gd name="connsiteY15" fmla="*/ 1774672 h 2764510"/>
                <a:gd name="connsiteX16" fmla="*/ 2108492 w 2159765"/>
                <a:gd name="connsiteY16" fmla="*/ 1782498 h 276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59765" h="2764510">
                  <a:moveTo>
                    <a:pt x="2108492" y="1782498"/>
                  </a:moveTo>
                  <a:cubicBezTo>
                    <a:pt x="2212949" y="1970474"/>
                    <a:pt x="2147673" y="2208126"/>
                    <a:pt x="1960637" y="2315962"/>
                  </a:cubicBezTo>
                  <a:lnTo>
                    <a:pt x="1276268" y="2711251"/>
                  </a:lnTo>
                  <a:cubicBezTo>
                    <a:pt x="1087250" y="2820256"/>
                    <a:pt x="845610" y="2755590"/>
                    <a:pt x="736452" y="2566724"/>
                  </a:cubicBezTo>
                  <a:cubicBezTo>
                    <a:pt x="663096" y="2439780"/>
                    <a:pt x="668458" y="2289155"/>
                    <a:pt x="737037" y="2170952"/>
                  </a:cubicBezTo>
                  <a:cubicBezTo>
                    <a:pt x="845711" y="1982137"/>
                    <a:pt x="780410" y="1741361"/>
                    <a:pt x="591646" y="1632432"/>
                  </a:cubicBezTo>
                  <a:cubicBezTo>
                    <a:pt x="529648" y="1596656"/>
                    <a:pt x="462314" y="1579784"/>
                    <a:pt x="395538" y="1579708"/>
                  </a:cubicBezTo>
                  <a:cubicBezTo>
                    <a:pt x="395132" y="1579708"/>
                    <a:pt x="394801" y="1579708"/>
                    <a:pt x="394395" y="1579708"/>
                  </a:cubicBezTo>
                  <a:cubicBezTo>
                    <a:pt x="176156" y="1579708"/>
                    <a:pt x="-589" y="1402434"/>
                    <a:pt x="-589" y="1184350"/>
                  </a:cubicBezTo>
                  <a:lnTo>
                    <a:pt x="-1504" y="394618"/>
                  </a:lnTo>
                  <a:lnTo>
                    <a:pt x="-1504" y="394618"/>
                  </a:lnTo>
                  <a:cubicBezTo>
                    <a:pt x="-1504" y="327490"/>
                    <a:pt x="15368" y="259460"/>
                    <a:pt x="51347" y="197185"/>
                  </a:cubicBezTo>
                  <a:cubicBezTo>
                    <a:pt x="160428" y="8306"/>
                    <a:pt x="402145" y="-56352"/>
                    <a:pt x="591163" y="52648"/>
                  </a:cubicBezTo>
                  <a:lnTo>
                    <a:pt x="1960637" y="842380"/>
                  </a:lnTo>
                  <a:cubicBezTo>
                    <a:pt x="2149655" y="951380"/>
                    <a:pt x="2214347" y="1192908"/>
                    <a:pt x="2105265" y="1381784"/>
                  </a:cubicBezTo>
                  <a:cubicBezTo>
                    <a:pt x="2032748" y="1507320"/>
                    <a:pt x="2037524" y="1657028"/>
                    <a:pt x="2104045" y="1774672"/>
                  </a:cubicBezTo>
                  <a:lnTo>
                    <a:pt x="2108492" y="1782498"/>
                  </a:lnTo>
                  <a:close/>
                </a:path>
              </a:pathLst>
            </a:custGeom>
            <a:gradFill flip="none" rotWithShape="1">
              <a:gsLst>
                <a:gs pos="82000">
                  <a:srgbClr val="C40D3C"/>
                </a:gs>
                <a:gs pos="29000">
                  <a:srgbClr val="C9BC94"/>
                </a:gs>
              </a:gsLst>
              <a:lin ang="2700000" scaled="1"/>
              <a:tileRect/>
            </a:gra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D09A1BE2-6F58-654D-E079-E86E376C8DD2}"/>
                </a:ext>
              </a:extLst>
            </p:cNvPr>
            <p:cNvSpPr/>
            <p:nvPr/>
          </p:nvSpPr>
          <p:spPr>
            <a:xfrm>
              <a:off x="6038881" y="79620"/>
              <a:ext cx="2210590" cy="2566313"/>
            </a:xfrm>
            <a:custGeom>
              <a:avLst/>
              <a:gdLst>
                <a:gd name="connsiteX0" fmla="*/ 2103436 w 2210590"/>
                <a:gd name="connsiteY0" fmla="*/ 1577934 h 2566313"/>
                <a:gd name="connsiteX1" fmla="*/ 2094289 w 2210590"/>
                <a:gd name="connsiteY1" fmla="*/ 1200289 h 2566313"/>
                <a:gd name="connsiteX2" fmla="*/ 2209087 w 2210590"/>
                <a:gd name="connsiteY2" fmla="*/ 789884 h 2566313"/>
                <a:gd name="connsiteX3" fmla="*/ 1419093 w 2210590"/>
                <a:gd name="connsiteY3" fmla="*/ -305 h 2566313"/>
                <a:gd name="connsiteX4" fmla="*/ 749640 w 2210590"/>
                <a:gd name="connsiteY4" fmla="*/ 370261 h 2566313"/>
                <a:gd name="connsiteX5" fmla="*/ 735588 w 2210590"/>
                <a:gd name="connsiteY5" fmla="*/ 392979 h 2566313"/>
                <a:gd name="connsiteX6" fmla="*/ 735588 w 2210590"/>
                <a:gd name="connsiteY6" fmla="*/ 392979 h 2566313"/>
                <a:gd name="connsiteX7" fmla="*/ 394649 w 2210590"/>
                <a:gd name="connsiteY7" fmla="*/ 590527 h 2566313"/>
                <a:gd name="connsiteX8" fmla="*/ 394649 w 2210590"/>
                <a:gd name="connsiteY8" fmla="*/ 590527 h 2566313"/>
                <a:gd name="connsiteX9" fmla="*/ -1504 w 2210590"/>
                <a:gd name="connsiteY9" fmla="*/ 985621 h 2566313"/>
                <a:gd name="connsiteX10" fmla="*/ 393506 w 2210590"/>
                <a:gd name="connsiteY10" fmla="*/ 1380717 h 2566313"/>
                <a:gd name="connsiteX11" fmla="*/ 393506 w 2210590"/>
                <a:gd name="connsiteY11" fmla="*/ 1380717 h 2566313"/>
                <a:gd name="connsiteX12" fmla="*/ 590985 w 2210590"/>
                <a:gd name="connsiteY12" fmla="*/ 1433644 h 2566313"/>
                <a:gd name="connsiteX13" fmla="*/ 736071 w 2210590"/>
                <a:gd name="connsiteY13" fmla="*/ 1972380 h 2566313"/>
                <a:gd name="connsiteX14" fmla="*/ 735487 w 2210590"/>
                <a:gd name="connsiteY14" fmla="*/ 2368380 h 2566313"/>
                <a:gd name="connsiteX15" fmla="*/ 1275176 w 2210590"/>
                <a:gd name="connsiteY15" fmla="*/ 2512984 h 2566313"/>
                <a:gd name="connsiteX16" fmla="*/ 1959239 w 2210590"/>
                <a:gd name="connsiteY16" fmla="*/ 2117898 h 2566313"/>
                <a:gd name="connsiteX17" fmla="*/ 1959239 w 2210590"/>
                <a:gd name="connsiteY17" fmla="*/ 2117898 h 2566313"/>
                <a:gd name="connsiteX18" fmla="*/ 2147038 w 2210590"/>
                <a:gd name="connsiteY18" fmla="*/ 1862740 h 2566313"/>
                <a:gd name="connsiteX19" fmla="*/ 2103512 w 2210590"/>
                <a:gd name="connsiteY19" fmla="*/ 1577853 h 2566313"/>
                <a:gd name="connsiteX20" fmla="*/ 2103512 w 2210590"/>
                <a:gd name="connsiteY20" fmla="*/ 1577853 h 256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10590" h="2566313">
                  <a:moveTo>
                    <a:pt x="2103436" y="1577934"/>
                  </a:moveTo>
                  <a:cubicBezTo>
                    <a:pt x="2033891" y="1457432"/>
                    <a:pt x="2035364" y="1315609"/>
                    <a:pt x="2094289" y="1200289"/>
                  </a:cubicBezTo>
                  <a:cubicBezTo>
                    <a:pt x="2167111" y="1080691"/>
                    <a:pt x="2209087" y="940184"/>
                    <a:pt x="2209087" y="789884"/>
                  </a:cubicBezTo>
                  <a:cubicBezTo>
                    <a:pt x="2209087" y="353468"/>
                    <a:pt x="1855392" y="-305"/>
                    <a:pt x="1419093" y="-305"/>
                  </a:cubicBezTo>
                  <a:cubicBezTo>
                    <a:pt x="1136925" y="-305"/>
                    <a:pt x="889390" y="147690"/>
                    <a:pt x="749640" y="370261"/>
                  </a:cubicBezTo>
                  <a:cubicBezTo>
                    <a:pt x="744710" y="377668"/>
                    <a:pt x="740035" y="385242"/>
                    <a:pt x="735588" y="392979"/>
                  </a:cubicBezTo>
                  <a:lnTo>
                    <a:pt x="735588" y="392979"/>
                  </a:lnTo>
                  <a:cubicBezTo>
                    <a:pt x="662664" y="519245"/>
                    <a:pt x="530588" y="590032"/>
                    <a:pt x="394649" y="590527"/>
                  </a:cubicBezTo>
                  <a:cubicBezTo>
                    <a:pt x="394243" y="590527"/>
                    <a:pt x="395056" y="590527"/>
                    <a:pt x="394649" y="590527"/>
                  </a:cubicBezTo>
                  <a:cubicBezTo>
                    <a:pt x="176487" y="590527"/>
                    <a:pt x="-1504" y="767413"/>
                    <a:pt x="-1504" y="985621"/>
                  </a:cubicBezTo>
                  <a:cubicBezTo>
                    <a:pt x="-1504" y="1203829"/>
                    <a:pt x="175343" y="1380717"/>
                    <a:pt x="393506" y="1380717"/>
                  </a:cubicBezTo>
                  <a:cubicBezTo>
                    <a:pt x="393836" y="1380717"/>
                    <a:pt x="393175" y="1380717"/>
                    <a:pt x="393506" y="1380717"/>
                  </a:cubicBezTo>
                  <a:cubicBezTo>
                    <a:pt x="460306" y="1380798"/>
                    <a:pt x="528936" y="1397837"/>
                    <a:pt x="590985" y="1433644"/>
                  </a:cubicBezTo>
                  <a:cubicBezTo>
                    <a:pt x="779597" y="1542542"/>
                    <a:pt x="844364" y="1783540"/>
                    <a:pt x="736071" y="1972380"/>
                  </a:cubicBezTo>
                  <a:cubicBezTo>
                    <a:pt x="667441" y="2090735"/>
                    <a:pt x="662181" y="2241437"/>
                    <a:pt x="735487" y="2368380"/>
                  </a:cubicBezTo>
                  <a:cubicBezTo>
                    <a:pt x="844542" y="2557348"/>
                    <a:pt x="1086234" y="2622141"/>
                    <a:pt x="1275176" y="2512984"/>
                  </a:cubicBezTo>
                  <a:lnTo>
                    <a:pt x="1959239" y="2117898"/>
                  </a:lnTo>
                  <a:lnTo>
                    <a:pt x="1959239" y="2117898"/>
                  </a:lnTo>
                  <a:cubicBezTo>
                    <a:pt x="2051347" y="2064716"/>
                    <a:pt x="2121781" y="1974667"/>
                    <a:pt x="2147038" y="1862740"/>
                  </a:cubicBezTo>
                  <a:cubicBezTo>
                    <a:pt x="2169830" y="1761655"/>
                    <a:pt x="2151637" y="1660905"/>
                    <a:pt x="2103512" y="1577853"/>
                  </a:cubicBezTo>
                  <a:lnTo>
                    <a:pt x="2103512" y="1577853"/>
                  </a:lnTo>
                  <a:close/>
                </a:path>
              </a:pathLst>
            </a:custGeom>
            <a:gradFill>
              <a:gsLst>
                <a:gs pos="64000">
                  <a:srgbClr val="C7BA90"/>
                </a:gs>
                <a:gs pos="28000">
                  <a:srgbClr val="C40D3C"/>
                </a:gs>
              </a:gsLst>
              <a:lin ang="2700000" scaled="1"/>
            </a:gra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FA20687-5682-3420-8A36-C8D45C866E3B}"/>
                </a:ext>
              </a:extLst>
            </p:cNvPr>
            <p:cNvSpPr/>
            <p:nvPr/>
          </p:nvSpPr>
          <p:spPr>
            <a:xfrm>
              <a:off x="6038881" y="658947"/>
              <a:ext cx="1473728" cy="1986988"/>
            </a:xfrm>
            <a:custGeom>
              <a:avLst/>
              <a:gdLst>
                <a:gd name="connsiteX0" fmla="*/ 1274718 w 1473728"/>
                <a:gd name="connsiteY0" fmla="*/ 457798 h 1986988"/>
                <a:gd name="connsiteX1" fmla="*/ 481777 w 1473728"/>
                <a:gd name="connsiteY1" fmla="*/ -305 h 1986988"/>
                <a:gd name="connsiteX2" fmla="*/ 394547 w 1473728"/>
                <a:gd name="connsiteY2" fmla="*/ 9991 h 1986988"/>
                <a:gd name="connsiteX3" fmla="*/ -1504 w 1473728"/>
                <a:gd name="connsiteY3" fmla="*/ 405333 h 1986988"/>
                <a:gd name="connsiteX4" fmla="*/ 393404 w 1473728"/>
                <a:gd name="connsiteY4" fmla="*/ 800673 h 1986988"/>
                <a:gd name="connsiteX5" fmla="*/ 590858 w 1473728"/>
                <a:gd name="connsiteY5" fmla="*/ 853633 h 1986988"/>
                <a:gd name="connsiteX6" fmla="*/ 735919 w 1473728"/>
                <a:gd name="connsiteY6" fmla="*/ 1392697 h 1986988"/>
                <a:gd name="connsiteX7" fmla="*/ 735334 w 1473728"/>
                <a:gd name="connsiteY7" fmla="*/ 1788952 h 1986988"/>
                <a:gd name="connsiteX8" fmla="*/ 1258761 w 1473728"/>
                <a:gd name="connsiteY8" fmla="*/ 1942473 h 1986988"/>
                <a:gd name="connsiteX9" fmla="*/ 1274718 w 1473728"/>
                <a:gd name="connsiteY9" fmla="*/ 1933250 h 1986988"/>
                <a:gd name="connsiteX10" fmla="*/ 1422472 w 1473728"/>
                <a:gd name="connsiteY10" fmla="*/ 1399126 h 1986988"/>
                <a:gd name="connsiteX11" fmla="*/ 1418025 w 1473728"/>
                <a:gd name="connsiteY11" fmla="*/ 1391300 h 1986988"/>
                <a:gd name="connsiteX12" fmla="*/ 1419270 w 1473728"/>
                <a:gd name="connsiteY12" fmla="*/ 997934 h 1986988"/>
                <a:gd name="connsiteX13" fmla="*/ 1274718 w 1473728"/>
                <a:gd name="connsiteY13" fmla="*/ 457879 h 198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73728" h="1986988">
                  <a:moveTo>
                    <a:pt x="1274718" y="457798"/>
                  </a:moveTo>
                  <a:lnTo>
                    <a:pt x="481777" y="-305"/>
                  </a:lnTo>
                  <a:cubicBezTo>
                    <a:pt x="453217" y="6284"/>
                    <a:pt x="424022" y="9910"/>
                    <a:pt x="394547" y="9991"/>
                  </a:cubicBezTo>
                  <a:cubicBezTo>
                    <a:pt x="176461" y="9991"/>
                    <a:pt x="-1504" y="186988"/>
                    <a:pt x="-1504" y="405333"/>
                  </a:cubicBezTo>
                  <a:cubicBezTo>
                    <a:pt x="-1504" y="623676"/>
                    <a:pt x="175292" y="800673"/>
                    <a:pt x="393404" y="800673"/>
                  </a:cubicBezTo>
                  <a:cubicBezTo>
                    <a:pt x="460204" y="800757"/>
                    <a:pt x="528834" y="817807"/>
                    <a:pt x="590858" y="853633"/>
                  </a:cubicBezTo>
                  <a:cubicBezTo>
                    <a:pt x="779419" y="962598"/>
                    <a:pt x="844187" y="1203755"/>
                    <a:pt x="735919" y="1392697"/>
                  </a:cubicBezTo>
                  <a:cubicBezTo>
                    <a:pt x="667289" y="1511129"/>
                    <a:pt x="662029" y="1661932"/>
                    <a:pt x="735334" y="1788952"/>
                  </a:cubicBezTo>
                  <a:cubicBezTo>
                    <a:pt x="841290" y="1972685"/>
                    <a:pt x="1072487" y="2039079"/>
                    <a:pt x="1258761" y="1942473"/>
                  </a:cubicBezTo>
                  <a:lnTo>
                    <a:pt x="1274718" y="1933250"/>
                  </a:lnTo>
                  <a:cubicBezTo>
                    <a:pt x="1461628" y="1825185"/>
                    <a:pt x="1526878" y="1587331"/>
                    <a:pt x="1422472" y="1399126"/>
                  </a:cubicBezTo>
                  <a:lnTo>
                    <a:pt x="1418025" y="1391300"/>
                  </a:lnTo>
                  <a:cubicBezTo>
                    <a:pt x="1351555" y="1273427"/>
                    <a:pt x="1346778" y="1123536"/>
                    <a:pt x="1419270" y="997934"/>
                  </a:cubicBezTo>
                  <a:cubicBezTo>
                    <a:pt x="1528276" y="808827"/>
                    <a:pt x="1463610" y="567093"/>
                    <a:pt x="1274718" y="457879"/>
                  </a:cubicBezTo>
                  <a:close/>
                </a:path>
              </a:pathLst>
            </a:custGeom>
            <a:solidFill>
              <a:srgbClr val="C21D3F"/>
            </a:soli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98B9C8-77A8-3058-6E2A-F270B3CB745E}"/>
              </a:ext>
            </a:extLst>
          </p:cNvPr>
          <p:cNvSpPr txBox="1">
            <a:spLocks/>
          </p:cNvSpPr>
          <p:nvPr/>
        </p:nvSpPr>
        <p:spPr>
          <a:xfrm>
            <a:off x="604838" y="1471617"/>
            <a:ext cx="5861276" cy="22763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 spc="-100" baseline="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1" i="0" u="none" strike="noStrike" kern="1200" cap="none" spc="-100" normalizeH="0" baseline="0" noProof="0" err="1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cemblix</a:t>
            </a:r>
            <a:endParaRPr kumimoji="0" lang="en-GB" sz="6000" b="1" i="0" u="none" strike="noStrike" kern="1200" cap="none" spc="-100" normalizeH="0" baseline="0" noProof="0">
              <a:ln>
                <a:noFill/>
              </a:ln>
              <a:solidFill>
                <a:srgbClr val="002068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BDB938F-2D48-CF4B-F8D8-B6FF3B5B8B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466886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CB9E1FAE-AE79-A8A9-3ACC-8D35117EF3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4363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9E1FAE-AE79-A8A9-3ACC-8D35117EF3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8C6AD3C6-5432-5F05-2D52-D055DEBFB3D6}"/>
              </a:ext>
            </a:extLst>
          </p:cNvPr>
          <p:cNvSpPr txBox="1">
            <a:spLocks/>
          </p:cNvSpPr>
          <p:nvPr/>
        </p:nvSpPr>
        <p:spPr>
          <a:xfrm>
            <a:off x="542621" y="205495"/>
            <a:ext cx="11512326" cy="5551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CEMBLIX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>
                <a:solidFill>
                  <a:srgbClr val="002060"/>
                </a:solidFill>
                <a:latin typeface="Arial" panose="020B0604020202020204"/>
              </a:rPr>
              <a:t>S</a:t>
            </a: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AGE: Penetration</a:t>
            </a:r>
            <a:b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</a:br>
            <a:endParaRPr kumimoji="0" lang="en-IN" sz="30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DDE9F6F-9EC9-F8EA-2F18-EC17D0750D21}"/>
              </a:ext>
            </a:extLst>
          </p:cNvPr>
          <p:cNvGrpSpPr/>
          <p:nvPr/>
        </p:nvGrpSpPr>
        <p:grpSpPr>
          <a:xfrm>
            <a:off x="435736" y="1008713"/>
            <a:ext cx="11516974" cy="841543"/>
            <a:chOff x="435736" y="1008713"/>
            <a:chExt cx="11516974" cy="84154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2ED35AB-C20F-51B7-9D9A-CE63170D41A2}"/>
                </a:ext>
              </a:extLst>
            </p:cNvPr>
            <p:cNvSpPr/>
            <p:nvPr/>
          </p:nvSpPr>
          <p:spPr>
            <a:xfrm>
              <a:off x="440384" y="1028375"/>
              <a:ext cx="11512326" cy="406537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6" name="Graphic 5" descr="User with solid fill">
              <a:extLst>
                <a:ext uri="{FF2B5EF4-FFF2-40B4-BE49-F238E27FC236}">
                  <a16:creationId xmlns:a16="http://schemas.microsoft.com/office/drawing/2014/main" id="{B84637A5-1E36-7200-7BD7-20C395045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4670386" y="1014600"/>
              <a:ext cx="349338" cy="39425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9152696-D7F5-4AB4-C797-B3D7CF234610}"/>
                </a:ext>
              </a:extLst>
            </p:cNvPr>
            <p:cNvSpPr/>
            <p:nvPr/>
          </p:nvSpPr>
          <p:spPr>
            <a:xfrm>
              <a:off x="7736965" y="1014119"/>
              <a:ext cx="4205240" cy="406538"/>
            </a:xfrm>
            <a:prstGeom prst="rect">
              <a:avLst/>
            </a:prstGeom>
            <a:solidFill>
              <a:srgbClr val="27531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471B69C-1A3B-DF82-4D2E-10AC035B429B}"/>
                </a:ext>
              </a:extLst>
            </p:cNvPr>
            <p:cNvSpPr/>
            <p:nvPr/>
          </p:nvSpPr>
          <p:spPr>
            <a:xfrm>
              <a:off x="4572615" y="1087934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rofil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42B8B87-DFE5-45D6-BCFB-9AEAA550AE86}"/>
                </a:ext>
              </a:extLst>
            </p:cNvPr>
            <p:cNvSpPr/>
            <p:nvPr/>
          </p:nvSpPr>
          <p:spPr>
            <a:xfrm>
              <a:off x="8392185" y="1048076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Innovation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7CA2DF2-FD51-013F-574D-674488387085}"/>
                </a:ext>
              </a:extLst>
            </p:cNvPr>
            <p:cNvSpPr txBox="1"/>
            <p:nvPr/>
          </p:nvSpPr>
          <p:spPr>
            <a:xfrm>
              <a:off x="2162875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4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7534481-1F4E-AA3E-BBFE-0973DD405E58}"/>
                </a:ext>
              </a:extLst>
            </p:cNvPr>
            <p:cNvSpPr txBox="1"/>
            <p:nvPr/>
          </p:nvSpPr>
          <p:spPr>
            <a:xfrm>
              <a:off x="9134451" y="1480924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4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D71E898-1AC4-34CE-F671-6E2C4DAE331E}"/>
                </a:ext>
              </a:extLst>
            </p:cNvPr>
            <p:cNvSpPr txBox="1"/>
            <p:nvPr/>
          </p:nvSpPr>
          <p:spPr>
            <a:xfrm>
              <a:off x="5217515" y="1480924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1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1F7F27A-2DBA-5163-F42B-2D812F30B7CA}"/>
                </a:ext>
              </a:extLst>
            </p:cNvPr>
            <p:cNvSpPr/>
            <p:nvPr/>
          </p:nvSpPr>
          <p:spPr>
            <a:xfrm>
              <a:off x="6096000" y="1008713"/>
              <a:ext cx="1676784" cy="412521"/>
            </a:xfrm>
            <a:prstGeom prst="rect">
              <a:avLst/>
            </a:prstGeom>
            <a:solidFill>
              <a:srgbClr val="022A4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           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Adoption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4FD2EFD-9949-F570-AD9E-8ADFBBE0F56F}"/>
                </a:ext>
              </a:extLst>
            </p:cNvPr>
            <p:cNvSpPr txBox="1"/>
            <p:nvPr/>
          </p:nvSpPr>
          <p:spPr>
            <a:xfrm>
              <a:off x="6721582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1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8" name="Graphic 17" descr="DNA with solid fill">
              <a:extLst>
                <a:ext uri="{FF2B5EF4-FFF2-40B4-BE49-F238E27FC236}">
                  <a16:creationId xmlns:a16="http://schemas.microsoft.com/office/drawing/2014/main" id="{DD6AA676-A568-DB28-4050-3BE7F79821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9532624">
              <a:off x="8339961" y="1061397"/>
              <a:ext cx="351019" cy="351019"/>
            </a:xfrm>
            <a:prstGeom prst="rect">
              <a:avLst/>
            </a:prstGeom>
          </p:spPr>
        </p:pic>
        <p:pic>
          <p:nvPicPr>
            <p:cNvPr id="8" name="Graphic 7" descr="First aid kit with solid fill">
              <a:extLst>
                <a:ext uri="{FF2B5EF4-FFF2-40B4-BE49-F238E27FC236}">
                  <a16:creationId xmlns:a16="http://schemas.microsoft.com/office/drawing/2014/main" id="{2AAB5AAE-2106-8373-9957-9C9F97D39A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298784" y="1038759"/>
              <a:ext cx="312298" cy="358409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03EE3BB-CBA7-20CD-BDED-55598BC6AD39}"/>
                </a:ext>
              </a:extLst>
            </p:cNvPr>
            <p:cNvSpPr/>
            <p:nvPr/>
          </p:nvSpPr>
          <p:spPr>
            <a:xfrm>
              <a:off x="435736" y="1025080"/>
              <a:ext cx="4203500" cy="41523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innerShdw blurRad="63500" dist="508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5" name="Graphic 4" descr="Mountains with solid fill">
              <a:extLst>
                <a:ext uri="{FF2B5EF4-FFF2-40B4-BE49-F238E27FC236}">
                  <a16:creationId xmlns:a16="http://schemas.microsoft.com/office/drawing/2014/main" id="{A42203DA-2A66-CA4C-8CF9-94EDC6AD0F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021797" y="1014119"/>
              <a:ext cx="341338" cy="394252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CD26741-C770-2F61-49B0-628D94E15223}"/>
                </a:ext>
              </a:extLst>
            </p:cNvPr>
            <p:cNvSpPr/>
            <p:nvPr/>
          </p:nvSpPr>
          <p:spPr>
            <a:xfrm>
              <a:off x="1988866" y="1080651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otential</a:t>
              </a:r>
            </a:p>
          </p:txBody>
        </p:sp>
      </p:grp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1EC57E09-C49C-95C1-239C-50CBBAFFCF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1173101"/>
              </p:ext>
            </p:extLst>
          </p:nvPr>
        </p:nvGraphicFramePr>
        <p:xfrm>
          <a:off x="8263337" y="2316634"/>
          <a:ext cx="3637443" cy="2028788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Innova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ig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25% PONA, Y BOS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edium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%-25% PONA, Y BOS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w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-10% (PONA+ BOSU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1938BD33-49DE-A7DB-A859-906CC0BAEF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6637135"/>
              </p:ext>
            </p:extLst>
          </p:nvPr>
        </p:nvGraphicFramePr>
        <p:xfrm>
          <a:off x="439896" y="2316634"/>
          <a:ext cx="2111521" cy="1976587"/>
        </p:xfrm>
        <a:graphic>
          <a:graphicData uri="http://schemas.openxmlformats.org/drawingml/2006/table">
            <a:tbl>
              <a:tblPr/>
              <a:tblGrid>
                <a:gridCol w="1239763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871758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Market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onatinib</a:t>
                      </a:r>
                    </a:p>
                    <a:p>
                      <a:pPr algn="ctr" fontAlgn="ctr"/>
                      <a:r>
                        <a:rPr lang="en-IN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asatinib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matinib</a:t>
                      </a:r>
                    </a:p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ilotinib</a:t>
                      </a:r>
                    </a:p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osutinib</a:t>
                      </a:r>
                    </a:p>
                    <a:p>
                      <a:pPr algn="ctr" fontAlgn="ctr"/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f</a:t>
                      </a:r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escriptions</a:t>
                      </a:r>
                      <a:endParaRPr lang="es-MX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AE0BC4B5-E99B-8968-189E-0DEA73C20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2113501"/>
              </p:ext>
            </p:extLst>
          </p:nvPr>
        </p:nvGraphicFramePr>
        <p:xfrm>
          <a:off x="2649579" y="2316634"/>
          <a:ext cx="1769638" cy="2535985"/>
        </p:xfrm>
        <a:graphic>
          <a:graphicData uri="http://schemas.openxmlformats.org/drawingml/2006/table">
            <a:tbl>
              <a:tblPr/>
              <a:tblGrid>
                <a:gridCol w="1115642">
                  <a:extLst>
                    <a:ext uri="{9D8B030D-6E8A-4147-A177-3AD203B41FA5}">
                      <a16:colId xmlns:a16="http://schemas.microsoft.com/office/drawing/2014/main" val="2321963324"/>
                    </a:ext>
                  </a:extLst>
                </a:gridCol>
                <a:gridCol w="653996">
                  <a:extLst>
                    <a:ext uri="{9D8B030D-6E8A-4147-A177-3AD203B41FA5}">
                      <a16:colId xmlns:a16="http://schemas.microsoft.com/office/drawing/2014/main" val="3973014528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Profil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3006088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Hematology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Arial Nova Cond" panose="020B0506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388667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Oncolog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6601028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Internal Medicin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870216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Oth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5069074"/>
                  </a:ext>
                </a:extLst>
              </a:tr>
            </a:tbl>
          </a:graphicData>
        </a:graphic>
      </p:graphicFrame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FA7CF23F-E99C-4A58-C731-80DC1880DF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8681700"/>
              </p:ext>
            </p:extLst>
          </p:nvPr>
        </p:nvGraphicFramePr>
        <p:xfrm>
          <a:off x="4517379" y="2316634"/>
          <a:ext cx="3637443" cy="3008502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4725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Y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41%-10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ANS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26%-4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1%-25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%-1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654914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 PRESCRIBE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153025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1A4B869B-3F05-CD5B-237C-9A2116FF96A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A88FD09-0E17-9FC3-C8CD-8A7B8910BAE3}"/>
              </a:ext>
            </a:extLst>
          </p:cNvPr>
          <p:cNvSpPr txBox="1"/>
          <p:nvPr/>
        </p:nvSpPr>
        <p:spPr>
          <a:xfrm>
            <a:off x="5264716" y="5351262"/>
            <a:ext cx="2508068" cy="365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*</a:t>
            </a:r>
            <a:r>
              <a:rPr lang="es-MX" dirty="0" err="1"/>
              <a:t>Nilotinib</a:t>
            </a:r>
            <a:r>
              <a:rPr lang="es-MX" dirty="0"/>
              <a:t> </a:t>
            </a:r>
            <a:r>
              <a:rPr lang="es-MX" dirty="0" err="1"/>
              <a:t>Adoption</a:t>
            </a:r>
            <a:endParaRPr lang="es-MX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2A8BEE2-49BE-A87F-5D04-D7E3C4B08C60}"/>
              </a:ext>
            </a:extLst>
          </p:cNvPr>
          <p:cNvSpPr txBox="1"/>
          <p:nvPr/>
        </p:nvSpPr>
        <p:spPr>
          <a:xfrm>
            <a:off x="7847737" y="5934670"/>
            <a:ext cx="446864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*Ver cómo podemos incluir en </a:t>
            </a:r>
            <a:r>
              <a:rPr lang="es-MX" dirty="0" err="1"/>
              <a:t>profile</a:t>
            </a:r>
            <a:r>
              <a:rPr lang="es-MX" dirty="0"/>
              <a:t> los médicos que tienen MAB + los que están pidiendo pacientes </a:t>
            </a:r>
            <a:r>
              <a:rPr lang="es-MX" dirty="0" err="1"/>
              <a:t>especificos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7961581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8">
            <a:extLst>
              <a:ext uri="{FF2B5EF4-FFF2-40B4-BE49-F238E27FC236}">
                <a16:creationId xmlns:a16="http://schemas.microsoft.com/office/drawing/2014/main" id="{F84F267C-33BF-EEBB-4667-7ACC5F522542}"/>
              </a:ext>
            </a:extLst>
          </p:cNvPr>
          <p:cNvGrpSpPr/>
          <p:nvPr/>
        </p:nvGrpSpPr>
        <p:grpSpPr>
          <a:xfrm rot="18011585">
            <a:off x="6223000" y="509360"/>
            <a:ext cx="6640285" cy="6836228"/>
            <a:chOff x="5352836" y="79620"/>
            <a:chExt cx="2896636" cy="2960160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E9FCDE68-5AF6-F944-4A1C-24EAE380C9AB}"/>
                </a:ext>
              </a:extLst>
            </p:cNvPr>
            <p:cNvSpPr/>
            <p:nvPr/>
          </p:nvSpPr>
          <p:spPr>
            <a:xfrm>
              <a:off x="5352836" y="275269"/>
              <a:ext cx="2159765" cy="2764510"/>
            </a:xfrm>
            <a:custGeom>
              <a:avLst/>
              <a:gdLst>
                <a:gd name="connsiteX0" fmla="*/ 2108492 w 2159765"/>
                <a:gd name="connsiteY0" fmla="*/ 1782498 h 2764510"/>
                <a:gd name="connsiteX1" fmla="*/ 1960637 w 2159765"/>
                <a:gd name="connsiteY1" fmla="*/ 2315962 h 2764510"/>
                <a:gd name="connsiteX2" fmla="*/ 1276268 w 2159765"/>
                <a:gd name="connsiteY2" fmla="*/ 2711251 h 2764510"/>
                <a:gd name="connsiteX3" fmla="*/ 736452 w 2159765"/>
                <a:gd name="connsiteY3" fmla="*/ 2566724 h 2764510"/>
                <a:gd name="connsiteX4" fmla="*/ 737037 w 2159765"/>
                <a:gd name="connsiteY4" fmla="*/ 2170952 h 2764510"/>
                <a:gd name="connsiteX5" fmla="*/ 591646 w 2159765"/>
                <a:gd name="connsiteY5" fmla="*/ 1632432 h 2764510"/>
                <a:gd name="connsiteX6" fmla="*/ 395538 w 2159765"/>
                <a:gd name="connsiteY6" fmla="*/ 1579708 h 2764510"/>
                <a:gd name="connsiteX7" fmla="*/ 394395 w 2159765"/>
                <a:gd name="connsiteY7" fmla="*/ 1579708 h 2764510"/>
                <a:gd name="connsiteX8" fmla="*/ -589 w 2159765"/>
                <a:gd name="connsiteY8" fmla="*/ 1184350 h 2764510"/>
                <a:gd name="connsiteX9" fmla="*/ -1504 w 2159765"/>
                <a:gd name="connsiteY9" fmla="*/ 394618 h 2764510"/>
                <a:gd name="connsiteX10" fmla="*/ -1504 w 2159765"/>
                <a:gd name="connsiteY10" fmla="*/ 394618 h 2764510"/>
                <a:gd name="connsiteX11" fmla="*/ 51347 w 2159765"/>
                <a:gd name="connsiteY11" fmla="*/ 197185 h 2764510"/>
                <a:gd name="connsiteX12" fmla="*/ 591163 w 2159765"/>
                <a:gd name="connsiteY12" fmla="*/ 52648 h 2764510"/>
                <a:gd name="connsiteX13" fmla="*/ 1960637 w 2159765"/>
                <a:gd name="connsiteY13" fmla="*/ 842380 h 2764510"/>
                <a:gd name="connsiteX14" fmla="*/ 2105265 w 2159765"/>
                <a:gd name="connsiteY14" fmla="*/ 1381784 h 2764510"/>
                <a:gd name="connsiteX15" fmla="*/ 2104045 w 2159765"/>
                <a:gd name="connsiteY15" fmla="*/ 1774672 h 2764510"/>
                <a:gd name="connsiteX16" fmla="*/ 2108492 w 2159765"/>
                <a:gd name="connsiteY16" fmla="*/ 1782498 h 276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59765" h="2764510">
                  <a:moveTo>
                    <a:pt x="2108492" y="1782498"/>
                  </a:moveTo>
                  <a:cubicBezTo>
                    <a:pt x="2212949" y="1970474"/>
                    <a:pt x="2147673" y="2208126"/>
                    <a:pt x="1960637" y="2315962"/>
                  </a:cubicBezTo>
                  <a:lnTo>
                    <a:pt x="1276268" y="2711251"/>
                  </a:lnTo>
                  <a:cubicBezTo>
                    <a:pt x="1087250" y="2820256"/>
                    <a:pt x="845610" y="2755590"/>
                    <a:pt x="736452" y="2566724"/>
                  </a:cubicBezTo>
                  <a:cubicBezTo>
                    <a:pt x="663096" y="2439780"/>
                    <a:pt x="668458" y="2289155"/>
                    <a:pt x="737037" y="2170952"/>
                  </a:cubicBezTo>
                  <a:cubicBezTo>
                    <a:pt x="845711" y="1982137"/>
                    <a:pt x="780410" y="1741361"/>
                    <a:pt x="591646" y="1632432"/>
                  </a:cubicBezTo>
                  <a:cubicBezTo>
                    <a:pt x="529648" y="1596656"/>
                    <a:pt x="462314" y="1579784"/>
                    <a:pt x="395538" y="1579708"/>
                  </a:cubicBezTo>
                  <a:cubicBezTo>
                    <a:pt x="395132" y="1579708"/>
                    <a:pt x="394801" y="1579708"/>
                    <a:pt x="394395" y="1579708"/>
                  </a:cubicBezTo>
                  <a:cubicBezTo>
                    <a:pt x="176156" y="1579708"/>
                    <a:pt x="-589" y="1402434"/>
                    <a:pt x="-589" y="1184350"/>
                  </a:cubicBezTo>
                  <a:lnTo>
                    <a:pt x="-1504" y="394618"/>
                  </a:lnTo>
                  <a:lnTo>
                    <a:pt x="-1504" y="394618"/>
                  </a:lnTo>
                  <a:cubicBezTo>
                    <a:pt x="-1504" y="327490"/>
                    <a:pt x="15368" y="259460"/>
                    <a:pt x="51347" y="197185"/>
                  </a:cubicBezTo>
                  <a:cubicBezTo>
                    <a:pt x="160428" y="8306"/>
                    <a:pt x="402145" y="-56352"/>
                    <a:pt x="591163" y="52648"/>
                  </a:cubicBezTo>
                  <a:lnTo>
                    <a:pt x="1960637" y="842380"/>
                  </a:lnTo>
                  <a:cubicBezTo>
                    <a:pt x="2149655" y="951380"/>
                    <a:pt x="2214347" y="1192908"/>
                    <a:pt x="2105265" y="1381784"/>
                  </a:cubicBezTo>
                  <a:cubicBezTo>
                    <a:pt x="2032748" y="1507320"/>
                    <a:pt x="2037524" y="1657028"/>
                    <a:pt x="2104045" y="1774672"/>
                  </a:cubicBezTo>
                  <a:lnTo>
                    <a:pt x="2108492" y="1782498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D09A1BE2-6F58-654D-E079-E86E376C8DD2}"/>
                </a:ext>
              </a:extLst>
            </p:cNvPr>
            <p:cNvSpPr/>
            <p:nvPr/>
          </p:nvSpPr>
          <p:spPr>
            <a:xfrm>
              <a:off x="6038881" y="79620"/>
              <a:ext cx="2210590" cy="2566313"/>
            </a:xfrm>
            <a:custGeom>
              <a:avLst/>
              <a:gdLst>
                <a:gd name="connsiteX0" fmla="*/ 2103436 w 2210590"/>
                <a:gd name="connsiteY0" fmla="*/ 1577934 h 2566313"/>
                <a:gd name="connsiteX1" fmla="*/ 2094289 w 2210590"/>
                <a:gd name="connsiteY1" fmla="*/ 1200289 h 2566313"/>
                <a:gd name="connsiteX2" fmla="*/ 2209087 w 2210590"/>
                <a:gd name="connsiteY2" fmla="*/ 789884 h 2566313"/>
                <a:gd name="connsiteX3" fmla="*/ 1419093 w 2210590"/>
                <a:gd name="connsiteY3" fmla="*/ -305 h 2566313"/>
                <a:gd name="connsiteX4" fmla="*/ 749640 w 2210590"/>
                <a:gd name="connsiteY4" fmla="*/ 370261 h 2566313"/>
                <a:gd name="connsiteX5" fmla="*/ 735588 w 2210590"/>
                <a:gd name="connsiteY5" fmla="*/ 392979 h 2566313"/>
                <a:gd name="connsiteX6" fmla="*/ 735588 w 2210590"/>
                <a:gd name="connsiteY6" fmla="*/ 392979 h 2566313"/>
                <a:gd name="connsiteX7" fmla="*/ 394649 w 2210590"/>
                <a:gd name="connsiteY7" fmla="*/ 590527 h 2566313"/>
                <a:gd name="connsiteX8" fmla="*/ 394649 w 2210590"/>
                <a:gd name="connsiteY8" fmla="*/ 590527 h 2566313"/>
                <a:gd name="connsiteX9" fmla="*/ -1504 w 2210590"/>
                <a:gd name="connsiteY9" fmla="*/ 985621 h 2566313"/>
                <a:gd name="connsiteX10" fmla="*/ 393506 w 2210590"/>
                <a:gd name="connsiteY10" fmla="*/ 1380717 h 2566313"/>
                <a:gd name="connsiteX11" fmla="*/ 393506 w 2210590"/>
                <a:gd name="connsiteY11" fmla="*/ 1380717 h 2566313"/>
                <a:gd name="connsiteX12" fmla="*/ 590985 w 2210590"/>
                <a:gd name="connsiteY12" fmla="*/ 1433644 h 2566313"/>
                <a:gd name="connsiteX13" fmla="*/ 736071 w 2210590"/>
                <a:gd name="connsiteY13" fmla="*/ 1972380 h 2566313"/>
                <a:gd name="connsiteX14" fmla="*/ 735487 w 2210590"/>
                <a:gd name="connsiteY14" fmla="*/ 2368380 h 2566313"/>
                <a:gd name="connsiteX15" fmla="*/ 1275176 w 2210590"/>
                <a:gd name="connsiteY15" fmla="*/ 2512984 h 2566313"/>
                <a:gd name="connsiteX16" fmla="*/ 1959239 w 2210590"/>
                <a:gd name="connsiteY16" fmla="*/ 2117898 h 2566313"/>
                <a:gd name="connsiteX17" fmla="*/ 1959239 w 2210590"/>
                <a:gd name="connsiteY17" fmla="*/ 2117898 h 2566313"/>
                <a:gd name="connsiteX18" fmla="*/ 2147038 w 2210590"/>
                <a:gd name="connsiteY18" fmla="*/ 1862740 h 2566313"/>
                <a:gd name="connsiteX19" fmla="*/ 2103512 w 2210590"/>
                <a:gd name="connsiteY19" fmla="*/ 1577853 h 2566313"/>
                <a:gd name="connsiteX20" fmla="*/ 2103512 w 2210590"/>
                <a:gd name="connsiteY20" fmla="*/ 1577853 h 256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10590" h="2566313">
                  <a:moveTo>
                    <a:pt x="2103436" y="1577934"/>
                  </a:moveTo>
                  <a:cubicBezTo>
                    <a:pt x="2033891" y="1457432"/>
                    <a:pt x="2035364" y="1315609"/>
                    <a:pt x="2094289" y="1200289"/>
                  </a:cubicBezTo>
                  <a:cubicBezTo>
                    <a:pt x="2167111" y="1080691"/>
                    <a:pt x="2209087" y="940184"/>
                    <a:pt x="2209087" y="789884"/>
                  </a:cubicBezTo>
                  <a:cubicBezTo>
                    <a:pt x="2209087" y="353468"/>
                    <a:pt x="1855392" y="-305"/>
                    <a:pt x="1419093" y="-305"/>
                  </a:cubicBezTo>
                  <a:cubicBezTo>
                    <a:pt x="1136925" y="-305"/>
                    <a:pt x="889390" y="147690"/>
                    <a:pt x="749640" y="370261"/>
                  </a:cubicBezTo>
                  <a:cubicBezTo>
                    <a:pt x="744710" y="377668"/>
                    <a:pt x="740035" y="385242"/>
                    <a:pt x="735588" y="392979"/>
                  </a:cubicBezTo>
                  <a:lnTo>
                    <a:pt x="735588" y="392979"/>
                  </a:lnTo>
                  <a:cubicBezTo>
                    <a:pt x="662664" y="519245"/>
                    <a:pt x="530588" y="590032"/>
                    <a:pt x="394649" y="590527"/>
                  </a:cubicBezTo>
                  <a:cubicBezTo>
                    <a:pt x="394243" y="590527"/>
                    <a:pt x="395056" y="590527"/>
                    <a:pt x="394649" y="590527"/>
                  </a:cubicBezTo>
                  <a:cubicBezTo>
                    <a:pt x="176487" y="590527"/>
                    <a:pt x="-1504" y="767413"/>
                    <a:pt x="-1504" y="985621"/>
                  </a:cubicBezTo>
                  <a:cubicBezTo>
                    <a:pt x="-1504" y="1203829"/>
                    <a:pt x="175343" y="1380717"/>
                    <a:pt x="393506" y="1380717"/>
                  </a:cubicBezTo>
                  <a:cubicBezTo>
                    <a:pt x="393836" y="1380717"/>
                    <a:pt x="393175" y="1380717"/>
                    <a:pt x="393506" y="1380717"/>
                  </a:cubicBezTo>
                  <a:cubicBezTo>
                    <a:pt x="460306" y="1380798"/>
                    <a:pt x="528936" y="1397837"/>
                    <a:pt x="590985" y="1433644"/>
                  </a:cubicBezTo>
                  <a:cubicBezTo>
                    <a:pt x="779597" y="1542542"/>
                    <a:pt x="844364" y="1783540"/>
                    <a:pt x="736071" y="1972380"/>
                  </a:cubicBezTo>
                  <a:cubicBezTo>
                    <a:pt x="667441" y="2090735"/>
                    <a:pt x="662181" y="2241437"/>
                    <a:pt x="735487" y="2368380"/>
                  </a:cubicBezTo>
                  <a:cubicBezTo>
                    <a:pt x="844542" y="2557348"/>
                    <a:pt x="1086234" y="2622141"/>
                    <a:pt x="1275176" y="2512984"/>
                  </a:cubicBezTo>
                  <a:lnTo>
                    <a:pt x="1959239" y="2117898"/>
                  </a:lnTo>
                  <a:lnTo>
                    <a:pt x="1959239" y="2117898"/>
                  </a:lnTo>
                  <a:cubicBezTo>
                    <a:pt x="2051347" y="2064716"/>
                    <a:pt x="2121781" y="1974667"/>
                    <a:pt x="2147038" y="1862740"/>
                  </a:cubicBezTo>
                  <a:cubicBezTo>
                    <a:pt x="2169830" y="1761655"/>
                    <a:pt x="2151637" y="1660905"/>
                    <a:pt x="2103512" y="1577853"/>
                  </a:cubicBezTo>
                  <a:lnTo>
                    <a:pt x="2103512" y="1577853"/>
                  </a:lnTo>
                  <a:close/>
                </a:path>
              </a:pathLst>
            </a:custGeom>
            <a:solidFill>
              <a:srgbClr val="F8A387"/>
            </a:soli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FA20687-5682-3420-8A36-C8D45C866E3B}"/>
                </a:ext>
              </a:extLst>
            </p:cNvPr>
            <p:cNvSpPr/>
            <p:nvPr/>
          </p:nvSpPr>
          <p:spPr>
            <a:xfrm>
              <a:off x="6038881" y="658947"/>
              <a:ext cx="1473728" cy="1986988"/>
            </a:xfrm>
            <a:custGeom>
              <a:avLst/>
              <a:gdLst>
                <a:gd name="connsiteX0" fmla="*/ 1274718 w 1473728"/>
                <a:gd name="connsiteY0" fmla="*/ 457798 h 1986988"/>
                <a:gd name="connsiteX1" fmla="*/ 481777 w 1473728"/>
                <a:gd name="connsiteY1" fmla="*/ -305 h 1986988"/>
                <a:gd name="connsiteX2" fmla="*/ 394547 w 1473728"/>
                <a:gd name="connsiteY2" fmla="*/ 9991 h 1986988"/>
                <a:gd name="connsiteX3" fmla="*/ -1504 w 1473728"/>
                <a:gd name="connsiteY3" fmla="*/ 405333 h 1986988"/>
                <a:gd name="connsiteX4" fmla="*/ 393404 w 1473728"/>
                <a:gd name="connsiteY4" fmla="*/ 800673 h 1986988"/>
                <a:gd name="connsiteX5" fmla="*/ 590858 w 1473728"/>
                <a:gd name="connsiteY5" fmla="*/ 853633 h 1986988"/>
                <a:gd name="connsiteX6" fmla="*/ 735919 w 1473728"/>
                <a:gd name="connsiteY6" fmla="*/ 1392697 h 1986988"/>
                <a:gd name="connsiteX7" fmla="*/ 735334 w 1473728"/>
                <a:gd name="connsiteY7" fmla="*/ 1788952 h 1986988"/>
                <a:gd name="connsiteX8" fmla="*/ 1258761 w 1473728"/>
                <a:gd name="connsiteY8" fmla="*/ 1942473 h 1986988"/>
                <a:gd name="connsiteX9" fmla="*/ 1274718 w 1473728"/>
                <a:gd name="connsiteY9" fmla="*/ 1933250 h 1986988"/>
                <a:gd name="connsiteX10" fmla="*/ 1422472 w 1473728"/>
                <a:gd name="connsiteY10" fmla="*/ 1399126 h 1986988"/>
                <a:gd name="connsiteX11" fmla="*/ 1418025 w 1473728"/>
                <a:gd name="connsiteY11" fmla="*/ 1391300 h 1986988"/>
                <a:gd name="connsiteX12" fmla="*/ 1419270 w 1473728"/>
                <a:gd name="connsiteY12" fmla="*/ 997934 h 1986988"/>
                <a:gd name="connsiteX13" fmla="*/ 1274718 w 1473728"/>
                <a:gd name="connsiteY13" fmla="*/ 457879 h 198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73728" h="1986988">
                  <a:moveTo>
                    <a:pt x="1274718" y="457798"/>
                  </a:moveTo>
                  <a:lnTo>
                    <a:pt x="481777" y="-305"/>
                  </a:lnTo>
                  <a:cubicBezTo>
                    <a:pt x="453217" y="6284"/>
                    <a:pt x="424022" y="9910"/>
                    <a:pt x="394547" y="9991"/>
                  </a:cubicBezTo>
                  <a:cubicBezTo>
                    <a:pt x="176461" y="9991"/>
                    <a:pt x="-1504" y="186988"/>
                    <a:pt x="-1504" y="405333"/>
                  </a:cubicBezTo>
                  <a:cubicBezTo>
                    <a:pt x="-1504" y="623676"/>
                    <a:pt x="175292" y="800673"/>
                    <a:pt x="393404" y="800673"/>
                  </a:cubicBezTo>
                  <a:cubicBezTo>
                    <a:pt x="460204" y="800757"/>
                    <a:pt x="528834" y="817807"/>
                    <a:pt x="590858" y="853633"/>
                  </a:cubicBezTo>
                  <a:cubicBezTo>
                    <a:pt x="779419" y="962598"/>
                    <a:pt x="844187" y="1203755"/>
                    <a:pt x="735919" y="1392697"/>
                  </a:cubicBezTo>
                  <a:cubicBezTo>
                    <a:pt x="667289" y="1511129"/>
                    <a:pt x="662029" y="1661932"/>
                    <a:pt x="735334" y="1788952"/>
                  </a:cubicBezTo>
                  <a:cubicBezTo>
                    <a:pt x="841290" y="1972685"/>
                    <a:pt x="1072487" y="2039079"/>
                    <a:pt x="1258761" y="1942473"/>
                  </a:cubicBezTo>
                  <a:lnTo>
                    <a:pt x="1274718" y="1933250"/>
                  </a:lnTo>
                  <a:cubicBezTo>
                    <a:pt x="1461628" y="1825185"/>
                    <a:pt x="1526878" y="1587331"/>
                    <a:pt x="1422472" y="1399126"/>
                  </a:cubicBezTo>
                  <a:lnTo>
                    <a:pt x="1418025" y="1391300"/>
                  </a:lnTo>
                  <a:cubicBezTo>
                    <a:pt x="1351555" y="1273427"/>
                    <a:pt x="1346778" y="1123536"/>
                    <a:pt x="1419270" y="997934"/>
                  </a:cubicBezTo>
                  <a:cubicBezTo>
                    <a:pt x="1528276" y="808827"/>
                    <a:pt x="1463610" y="567093"/>
                    <a:pt x="1274718" y="457879"/>
                  </a:cubicBezTo>
                  <a:close/>
                </a:path>
              </a:pathLst>
            </a:custGeom>
            <a:solidFill>
              <a:srgbClr val="6B156B"/>
            </a:soli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98B9C8-77A8-3058-6E2A-F270B3CB745E}"/>
              </a:ext>
            </a:extLst>
          </p:cNvPr>
          <p:cNvSpPr txBox="1">
            <a:spLocks/>
          </p:cNvSpPr>
          <p:nvPr/>
        </p:nvSpPr>
        <p:spPr>
          <a:xfrm>
            <a:off x="604838" y="1471617"/>
            <a:ext cx="5861276" cy="22763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 spc="-100" baseline="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1" i="0" u="none" strike="noStrike" kern="1200" cap="none" spc="-100" normalizeH="0" baseline="0" noProof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Jakavi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B8B1982-EF3F-544B-2B80-BA7885BAC2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911958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CB9E1FAE-AE79-A8A9-3ACC-8D35117EF3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9E1FAE-AE79-A8A9-3ACC-8D35117EF3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8C6AD3C6-5432-5F05-2D52-D055DEBFB3D6}"/>
              </a:ext>
            </a:extLst>
          </p:cNvPr>
          <p:cNvSpPr txBox="1">
            <a:spLocks/>
          </p:cNvSpPr>
          <p:nvPr/>
        </p:nvSpPr>
        <p:spPr>
          <a:xfrm>
            <a:off x="542621" y="205495"/>
            <a:ext cx="11512326" cy="5551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JAKAVI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>
                <a:solidFill>
                  <a:srgbClr val="002060"/>
                </a:solidFill>
                <a:latin typeface="Arial" panose="020B0604020202020204"/>
              </a:rPr>
              <a:t>S</a:t>
            </a: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AGE: Growth</a:t>
            </a:r>
            <a:b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</a:br>
            <a:endParaRPr kumimoji="0" lang="en-IN" sz="30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1EC57E09-C49C-95C1-239C-50CBBAFFCF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619611"/>
              </p:ext>
            </p:extLst>
          </p:nvPr>
        </p:nvGraphicFramePr>
        <p:xfrm>
          <a:off x="8263337" y="2316634"/>
          <a:ext cx="3637443" cy="2028788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Innova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ig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B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edium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B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w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B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1938BD33-49DE-A7DB-A859-906CC0BAEF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2061993"/>
              </p:ext>
            </p:extLst>
          </p:nvPr>
        </p:nvGraphicFramePr>
        <p:xfrm>
          <a:off x="82194" y="2316633"/>
          <a:ext cx="2469224" cy="1525901"/>
        </p:xfrm>
        <a:graphic>
          <a:graphicData uri="http://schemas.openxmlformats.org/drawingml/2006/table">
            <a:tbl>
              <a:tblPr/>
              <a:tblGrid>
                <a:gridCol w="1592494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876730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443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Market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102146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uxolitinib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ydroxycarbamide</a:t>
                      </a:r>
                    </a:p>
                    <a:p>
                      <a:pPr algn="ctr" fontAlgn="ctr"/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f</a:t>
                      </a:r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escriptions</a:t>
                      </a:r>
                      <a:endParaRPr lang="es-MX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AE0BC4B5-E99B-8968-189E-0DEA73C20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3726749"/>
              </p:ext>
            </p:extLst>
          </p:nvPr>
        </p:nvGraphicFramePr>
        <p:xfrm>
          <a:off x="2649579" y="2316634"/>
          <a:ext cx="1769638" cy="2535985"/>
        </p:xfrm>
        <a:graphic>
          <a:graphicData uri="http://schemas.openxmlformats.org/drawingml/2006/table">
            <a:tbl>
              <a:tblPr/>
              <a:tblGrid>
                <a:gridCol w="1115642">
                  <a:extLst>
                    <a:ext uri="{9D8B030D-6E8A-4147-A177-3AD203B41FA5}">
                      <a16:colId xmlns:a16="http://schemas.microsoft.com/office/drawing/2014/main" val="2321963324"/>
                    </a:ext>
                  </a:extLst>
                </a:gridCol>
                <a:gridCol w="653996">
                  <a:extLst>
                    <a:ext uri="{9D8B030D-6E8A-4147-A177-3AD203B41FA5}">
                      <a16:colId xmlns:a16="http://schemas.microsoft.com/office/drawing/2014/main" val="3973014528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Profil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3006088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Haematolog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388667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Oncolog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6601028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Internal Medicin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870216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Oth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5069074"/>
                  </a:ext>
                </a:extLst>
              </a:tr>
            </a:tbl>
          </a:graphicData>
        </a:graphic>
      </p:graphicFrame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FA7CF23F-E99C-4A58-C731-80DC1880DF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9596097"/>
              </p:ext>
            </p:extLst>
          </p:nvPr>
        </p:nvGraphicFramePr>
        <p:xfrm>
          <a:off x="4517379" y="2316634"/>
          <a:ext cx="3637443" cy="3008502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4725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Y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75%-10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ANS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50%-75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25%-5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%-25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654914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 PRESCRIBE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153025"/>
                  </a:ext>
                </a:extLst>
              </a:tr>
            </a:tbl>
          </a:graphicData>
        </a:graphic>
      </p:graphicFrame>
      <p:grpSp>
        <p:nvGrpSpPr>
          <p:cNvPr id="40" name="Group 39">
            <a:extLst>
              <a:ext uri="{FF2B5EF4-FFF2-40B4-BE49-F238E27FC236}">
                <a16:creationId xmlns:a16="http://schemas.microsoft.com/office/drawing/2014/main" id="{1E413FA3-EEAD-2ED1-E4D6-E6DDE0C1ACB1}"/>
              </a:ext>
            </a:extLst>
          </p:cNvPr>
          <p:cNvGrpSpPr/>
          <p:nvPr/>
        </p:nvGrpSpPr>
        <p:grpSpPr>
          <a:xfrm>
            <a:off x="435736" y="1008713"/>
            <a:ext cx="11516974" cy="841543"/>
            <a:chOff x="435736" y="1008713"/>
            <a:chExt cx="11516974" cy="841543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6BF343C-192E-4454-8462-2FCB22ABBFA8}"/>
                </a:ext>
              </a:extLst>
            </p:cNvPr>
            <p:cNvSpPr/>
            <p:nvPr/>
          </p:nvSpPr>
          <p:spPr>
            <a:xfrm>
              <a:off x="440384" y="1028375"/>
              <a:ext cx="11512326" cy="406537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42" name="Graphic 41" descr="User with solid fill">
              <a:extLst>
                <a:ext uri="{FF2B5EF4-FFF2-40B4-BE49-F238E27FC236}">
                  <a16:creationId xmlns:a16="http://schemas.microsoft.com/office/drawing/2014/main" id="{E56138E2-3EAD-1F41-B3F1-6E00F83B2C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4670386" y="1014600"/>
              <a:ext cx="349338" cy="394250"/>
            </a:xfrm>
            <a:prstGeom prst="rect">
              <a:avLst/>
            </a:prstGeom>
          </p:spPr>
        </p:pic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F6F3344-01D0-922C-8914-21F469C7A871}"/>
                </a:ext>
              </a:extLst>
            </p:cNvPr>
            <p:cNvSpPr/>
            <p:nvPr/>
          </p:nvSpPr>
          <p:spPr>
            <a:xfrm>
              <a:off x="9372599" y="1014119"/>
              <a:ext cx="2569605" cy="406537"/>
            </a:xfrm>
            <a:prstGeom prst="rect">
              <a:avLst/>
            </a:prstGeom>
            <a:solidFill>
              <a:srgbClr val="27531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2694F27-DFA4-932B-4605-00196BE7BCF4}"/>
                </a:ext>
              </a:extLst>
            </p:cNvPr>
            <p:cNvSpPr/>
            <p:nvPr/>
          </p:nvSpPr>
          <p:spPr>
            <a:xfrm>
              <a:off x="4572615" y="1087934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rofile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3BAE155-09FA-7673-9698-8AF90DDBD5EA}"/>
                </a:ext>
              </a:extLst>
            </p:cNvPr>
            <p:cNvSpPr/>
            <p:nvPr/>
          </p:nvSpPr>
          <p:spPr>
            <a:xfrm>
              <a:off x="9918234" y="1038759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Innovation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BE5D223D-DF3D-C2C9-62B0-E3DB8471BC28}"/>
                </a:ext>
              </a:extLst>
            </p:cNvPr>
            <p:cNvSpPr txBox="1"/>
            <p:nvPr/>
          </p:nvSpPr>
          <p:spPr>
            <a:xfrm>
              <a:off x="2162875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4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CC635D5-D4FE-98E6-2A0B-AE75415453E1}"/>
                </a:ext>
              </a:extLst>
            </p:cNvPr>
            <p:cNvSpPr txBox="1"/>
            <p:nvPr/>
          </p:nvSpPr>
          <p:spPr>
            <a:xfrm>
              <a:off x="10429787" y="1470549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2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1CBDCE7B-55EE-6878-C87B-80BBCAABFA3D}"/>
                </a:ext>
              </a:extLst>
            </p:cNvPr>
            <p:cNvSpPr txBox="1"/>
            <p:nvPr/>
          </p:nvSpPr>
          <p:spPr>
            <a:xfrm>
              <a:off x="5217515" y="1480924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1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A74222D5-C5FA-BBD8-F509-6CDE9432730A}"/>
                </a:ext>
              </a:extLst>
            </p:cNvPr>
            <p:cNvSpPr/>
            <p:nvPr/>
          </p:nvSpPr>
          <p:spPr>
            <a:xfrm>
              <a:off x="6095999" y="1008713"/>
              <a:ext cx="3276599" cy="415238"/>
            </a:xfrm>
            <a:prstGeom prst="rect">
              <a:avLst/>
            </a:prstGeom>
            <a:solidFill>
              <a:srgbClr val="022A4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           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Adoption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3FC7514C-6159-064C-17B5-883F07A97083}"/>
                </a:ext>
              </a:extLst>
            </p:cNvPr>
            <p:cNvSpPr txBox="1"/>
            <p:nvPr/>
          </p:nvSpPr>
          <p:spPr>
            <a:xfrm>
              <a:off x="7734298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3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51" name="Graphic 50" descr="DNA with solid fill">
              <a:extLst>
                <a:ext uri="{FF2B5EF4-FFF2-40B4-BE49-F238E27FC236}">
                  <a16:creationId xmlns:a16="http://schemas.microsoft.com/office/drawing/2014/main" id="{8F5C44DD-C6CE-F819-6F3D-6C8142A573F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9532624">
              <a:off x="9866010" y="1052080"/>
              <a:ext cx="351019" cy="351019"/>
            </a:xfrm>
            <a:prstGeom prst="rect">
              <a:avLst/>
            </a:prstGeom>
          </p:spPr>
        </p:pic>
        <p:pic>
          <p:nvPicPr>
            <p:cNvPr id="52" name="Graphic 51" descr="First aid kit with solid fill">
              <a:extLst>
                <a:ext uri="{FF2B5EF4-FFF2-40B4-BE49-F238E27FC236}">
                  <a16:creationId xmlns:a16="http://schemas.microsoft.com/office/drawing/2014/main" id="{D0A544D1-225C-EFBD-5E01-9F4EFB85AAD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298784" y="1038759"/>
              <a:ext cx="312298" cy="358409"/>
            </a:xfrm>
            <a:prstGeom prst="rect">
              <a:avLst/>
            </a:prstGeom>
          </p:spPr>
        </p:pic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67243CF4-3E15-61B1-9309-09C6AF67A8A8}"/>
                </a:ext>
              </a:extLst>
            </p:cNvPr>
            <p:cNvSpPr/>
            <p:nvPr/>
          </p:nvSpPr>
          <p:spPr>
            <a:xfrm>
              <a:off x="435736" y="1025080"/>
              <a:ext cx="4203500" cy="41523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innerShdw blurRad="63500" dist="508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54" name="Graphic 53" descr="Mountains with solid fill">
              <a:extLst>
                <a:ext uri="{FF2B5EF4-FFF2-40B4-BE49-F238E27FC236}">
                  <a16:creationId xmlns:a16="http://schemas.microsoft.com/office/drawing/2014/main" id="{D5A0637F-E15B-CE0D-0E1A-4AC7DFF491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021797" y="1014119"/>
              <a:ext cx="341338" cy="394252"/>
            </a:xfrm>
            <a:prstGeom prst="rect">
              <a:avLst/>
            </a:prstGeom>
          </p:spPr>
        </p:pic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6F621198-9388-613B-0AEC-C41998C31868}"/>
                </a:ext>
              </a:extLst>
            </p:cNvPr>
            <p:cNvSpPr/>
            <p:nvPr/>
          </p:nvSpPr>
          <p:spPr>
            <a:xfrm>
              <a:off x="1988866" y="1080651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otential</a:t>
              </a: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CA4BDCCA-2CF5-5774-95A5-F6AFE97FA92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708557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8">
            <a:extLst>
              <a:ext uri="{FF2B5EF4-FFF2-40B4-BE49-F238E27FC236}">
                <a16:creationId xmlns:a16="http://schemas.microsoft.com/office/drawing/2014/main" id="{F84F267C-33BF-EEBB-4667-7ACC5F522542}"/>
              </a:ext>
            </a:extLst>
          </p:cNvPr>
          <p:cNvGrpSpPr/>
          <p:nvPr/>
        </p:nvGrpSpPr>
        <p:grpSpPr>
          <a:xfrm rot="18011585">
            <a:off x="6223000" y="509360"/>
            <a:ext cx="6640285" cy="6836228"/>
            <a:chOff x="5352836" y="79620"/>
            <a:chExt cx="2896636" cy="2960160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E9FCDE68-5AF6-F944-4A1C-24EAE380C9AB}"/>
                </a:ext>
              </a:extLst>
            </p:cNvPr>
            <p:cNvSpPr/>
            <p:nvPr/>
          </p:nvSpPr>
          <p:spPr>
            <a:xfrm>
              <a:off x="5352836" y="275269"/>
              <a:ext cx="2159765" cy="2764510"/>
            </a:xfrm>
            <a:custGeom>
              <a:avLst/>
              <a:gdLst>
                <a:gd name="connsiteX0" fmla="*/ 2108492 w 2159765"/>
                <a:gd name="connsiteY0" fmla="*/ 1782498 h 2764510"/>
                <a:gd name="connsiteX1" fmla="*/ 1960637 w 2159765"/>
                <a:gd name="connsiteY1" fmla="*/ 2315962 h 2764510"/>
                <a:gd name="connsiteX2" fmla="*/ 1276268 w 2159765"/>
                <a:gd name="connsiteY2" fmla="*/ 2711251 h 2764510"/>
                <a:gd name="connsiteX3" fmla="*/ 736452 w 2159765"/>
                <a:gd name="connsiteY3" fmla="*/ 2566724 h 2764510"/>
                <a:gd name="connsiteX4" fmla="*/ 737037 w 2159765"/>
                <a:gd name="connsiteY4" fmla="*/ 2170952 h 2764510"/>
                <a:gd name="connsiteX5" fmla="*/ 591646 w 2159765"/>
                <a:gd name="connsiteY5" fmla="*/ 1632432 h 2764510"/>
                <a:gd name="connsiteX6" fmla="*/ 395538 w 2159765"/>
                <a:gd name="connsiteY6" fmla="*/ 1579708 h 2764510"/>
                <a:gd name="connsiteX7" fmla="*/ 394395 w 2159765"/>
                <a:gd name="connsiteY7" fmla="*/ 1579708 h 2764510"/>
                <a:gd name="connsiteX8" fmla="*/ -589 w 2159765"/>
                <a:gd name="connsiteY8" fmla="*/ 1184350 h 2764510"/>
                <a:gd name="connsiteX9" fmla="*/ -1504 w 2159765"/>
                <a:gd name="connsiteY9" fmla="*/ 394618 h 2764510"/>
                <a:gd name="connsiteX10" fmla="*/ -1504 w 2159765"/>
                <a:gd name="connsiteY10" fmla="*/ 394618 h 2764510"/>
                <a:gd name="connsiteX11" fmla="*/ 51347 w 2159765"/>
                <a:gd name="connsiteY11" fmla="*/ 197185 h 2764510"/>
                <a:gd name="connsiteX12" fmla="*/ 591163 w 2159765"/>
                <a:gd name="connsiteY12" fmla="*/ 52648 h 2764510"/>
                <a:gd name="connsiteX13" fmla="*/ 1960637 w 2159765"/>
                <a:gd name="connsiteY13" fmla="*/ 842380 h 2764510"/>
                <a:gd name="connsiteX14" fmla="*/ 2105265 w 2159765"/>
                <a:gd name="connsiteY14" fmla="*/ 1381784 h 2764510"/>
                <a:gd name="connsiteX15" fmla="*/ 2104045 w 2159765"/>
                <a:gd name="connsiteY15" fmla="*/ 1774672 h 2764510"/>
                <a:gd name="connsiteX16" fmla="*/ 2108492 w 2159765"/>
                <a:gd name="connsiteY16" fmla="*/ 1782498 h 276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59765" h="2764510">
                  <a:moveTo>
                    <a:pt x="2108492" y="1782498"/>
                  </a:moveTo>
                  <a:cubicBezTo>
                    <a:pt x="2212949" y="1970474"/>
                    <a:pt x="2147673" y="2208126"/>
                    <a:pt x="1960637" y="2315962"/>
                  </a:cubicBezTo>
                  <a:lnTo>
                    <a:pt x="1276268" y="2711251"/>
                  </a:lnTo>
                  <a:cubicBezTo>
                    <a:pt x="1087250" y="2820256"/>
                    <a:pt x="845610" y="2755590"/>
                    <a:pt x="736452" y="2566724"/>
                  </a:cubicBezTo>
                  <a:cubicBezTo>
                    <a:pt x="663096" y="2439780"/>
                    <a:pt x="668458" y="2289155"/>
                    <a:pt x="737037" y="2170952"/>
                  </a:cubicBezTo>
                  <a:cubicBezTo>
                    <a:pt x="845711" y="1982137"/>
                    <a:pt x="780410" y="1741361"/>
                    <a:pt x="591646" y="1632432"/>
                  </a:cubicBezTo>
                  <a:cubicBezTo>
                    <a:pt x="529648" y="1596656"/>
                    <a:pt x="462314" y="1579784"/>
                    <a:pt x="395538" y="1579708"/>
                  </a:cubicBezTo>
                  <a:cubicBezTo>
                    <a:pt x="395132" y="1579708"/>
                    <a:pt x="394801" y="1579708"/>
                    <a:pt x="394395" y="1579708"/>
                  </a:cubicBezTo>
                  <a:cubicBezTo>
                    <a:pt x="176156" y="1579708"/>
                    <a:pt x="-589" y="1402434"/>
                    <a:pt x="-589" y="1184350"/>
                  </a:cubicBezTo>
                  <a:lnTo>
                    <a:pt x="-1504" y="394618"/>
                  </a:lnTo>
                  <a:lnTo>
                    <a:pt x="-1504" y="394618"/>
                  </a:lnTo>
                  <a:cubicBezTo>
                    <a:pt x="-1504" y="327490"/>
                    <a:pt x="15368" y="259460"/>
                    <a:pt x="51347" y="197185"/>
                  </a:cubicBezTo>
                  <a:cubicBezTo>
                    <a:pt x="160428" y="8306"/>
                    <a:pt x="402145" y="-56352"/>
                    <a:pt x="591163" y="52648"/>
                  </a:cubicBezTo>
                  <a:lnTo>
                    <a:pt x="1960637" y="842380"/>
                  </a:lnTo>
                  <a:cubicBezTo>
                    <a:pt x="2149655" y="951380"/>
                    <a:pt x="2214347" y="1192908"/>
                    <a:pt x="2105265" y="1381784"/>
                  </a:cubicBezTo>
                  <a:cubicBezTo>
                    <a:pt x="2032748" y="1507320"/>
                    <a:pt x="2037524" y="1657028"/>
                    <a:pt x="2104045" y="1774672"/>
                  </a:cubicBezTo>
                  <a:lnTo>
                    <a:pt x="2108492" y="1782498"/>
                  </a:lnTo>
                  <a:close/>
                </a:path>
              </a:pathLst>
            </a:custGeom>
            <a:gradFill flip="none" rotWithShape="1">
              <a:gsLst>
                <a:gs pos="82000">
                  <a:srgbClr val="512F61"/>
                </a:gs>
                <a:gs pos="28000">
                  <a:srgbClr val="8C738E"/>
                </a:gs>
              </a:gsLst>
              <a:lin ang="2700000" scaled="1"/>
              <a:tileRect/>
            </a:gra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D09A1BE2-6F58-654D-E079-E86E376C8DD2}"/>
                </a:ext>
              </a:extLst>
            </p:cNvPr>
            <p:cNvSpPr/>
            <p:nvPr/>
          </p:nvSpPr>
          <p:spPr>
            <a:xfrm>
              <a:off x="6038881" y="79620"/>
              <a:ext cx="2210590" cy="2566313"/>
            </a:xfrm>
            <a:custGeom>
              <a:avLst/>
              <a:gdLst>
                <a:gd name="connsiteX0" fmla="*/ 2103436 w 2210590"/>
                <a:gd name="connsiteY0" fmla="*/ 1577934 h 2566313"/>
                <a:gd name="connsiteX1" fmla="*/ 2094289 w 2210590"/>
                <a:gd name="connsiteY1" fmla="*/ 1200289 h 2566313"/>
                <a:gd name="connsiteX2" fmla="*/ 2209087 w 2210590"/>
                <a:gd name="connsiteY2" fmla="*/ 789884 h 2566313"/>
                <a:gd name="connsiteX3" fmla="*/ 1419093 w 2210590"/>
                <a:gd name="connsiteY3" fmla="*/ -305 h 2566313"/>
                <a:gd name="connsiteX4" fmla="*/ 749640 w 2210590"/>
                <a:gd name="connsiteY4" fmla="*/ 370261 h 2566313"/>
                <a:gd name="connsiteX5" fmla="*/ 735588 w 2210590"/>
                <a:gd name="connsiteY5" fmla="*/ 392979 h 2566313"/>
                <a:gd name="connsiteX6" fmla="*/ 735588 w 2210590"/>
                <a:gd name="connsiteY6" fmla="*/ 392979 h 2566313"/>
                <a:gd name="connsiteX7" fmla="*/ 394649 w 2210590"/>
                <a:gd name="connsiteY7" fmla="*/ 590527 h 2566313"/>
                <a:gd name="connsiteX8" fmla="*/ 394649 w 2210590"/>
                <a:gd name="connsiteY8" fmla="*/ 590527 h 2566313"/>
                <a:gd name="connsiteX9" fmla="*/ -1504 w 2210590"/>
                <a:gd name="connsiteY9" fmla="*/ 985621 h 2566313"/>
                <a:gd name="connsiteX10" fmla="*/ 393506 w 2210590"/>
                <a:gd name="connsiteY10" fmla="*/ 1380717 h 2566313"/>
                <a:gd name="connsiteX11" fmla="*/ 393506 w 2210590"/>
                <a:gd name="connsiteY11" fmla="*/ 1380717 h 2566313"/>
                <a:gd name="connsiteX12" fmla="*/ 590985 w 2210590"/>
                <a:gd name="connsiteY12" fmla="*/ 1433644 h 2566313"/>
                <a:gd name="connsiteX13" fmla="*/ 736071 w 2210590"/>
                <a:gd name="connsiteY13" fmla="*/ 1972380 h 2566313"/>
                <a:gd name="connsiteX14" fmla="*/ 735487 w 2210590"/>
                <a:gd name="connsiteY14" fmla="*/ 2368380 h 2566313"/>
                <a:gd name="connsiteX15" fmla="*/ 1275176 w 2210590"/>
                <a:gd name="connsiteY15" fmla="*/ 2512984 h 2566313"/>
                <a:gd name="connsiteX16" fmla="*/ 1959239 w 2210590"/>
                <a:gd name="connsiteY16" fmla="*/ 2117898 h 2566313"/>
                <a:gd name="connsiteX17" fmla="*/ 1959239 w 2210590"/>
                <a:gd name="connsiteY17" fmla="*/ 2117898 h 2566313"/>
                <a:gd name="connsiteX18" fmla="*/ 2147038 w 2210590"/>
                <a:gd name="connsiteY18" fmla="*/ 1862740 h 2566313"/>
                <a:gd name="connsiteX19" fmla="*/ 2103512 w 2210590"/>
                <a:gd name="connsiteY19" fmla="*/ 1577853 h 2566313"/>
                <a:gd name="connsiteX20" fmla="*/ 2103512 w 2210590"/>
                <a:gd name="connsiteY20" fmla="*/ 1577853 h 256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10590" h="2566313">
                  <a:moveTo>
                    <a:pt x="2103436" y="1577934"/>
                  </a:moveTo>
                  <a:cubicBezTo>
                    <a:pt x="2033891" y="1457432"/>
                    <a:pt x="2035364" y="1315609"/>
                    <a:pt x="2094289" y="1200289"/>
                  </a:cubicBezTo>
                  <a:cubicBezTo>
                    <a:pt x="2167111" y="1080691"/>
                    <a:pt x="2209087" y="940184"/>
                    <a:pt x="2209087" y="789884"/>
                  </a:cubicBezTo>
                  <a:cubicBezTo>
                    <a:pt x="2209087" y="353468"/>
                    <a:pt x="1855392" y="-305"/>
                    <a:pt x="1419093" y="-305"/>
                  </a:cubicBezTo>
                  <a:cubicBezTo>
                    <a:pt x="1136925" y="-305"/>
                    <a:pt x="889390" y="147690"/>
                    <a:pt x="749640" y="370261"/>
                  </a:cubicBezTo>
                  <a:cubicBezTo>
                    <a:pt x="744710" y="377668"/>
                    <a:pt x="740035" y="385242"/>
                    <a:pt x="735588" y="392979"/>
                  </a:cubicBezTo>
                  <a:lnTo>
                    <a:pt x="735588" y="392979"/>
                  </a:lnTo>
                  <a:cubicBezTo>
                    <a:pt x="662664" y="519245"/>
                    <a:pt x="530588" y="590032"/>
                    <a:pt x="394649" y="590527"/>
                  </a:cubicBezTo>
                  <a:cubicBezTo>
                    <a:pt x="394243" y="590527"/>
                    <a:pt x="395056" y="590527"/>
                    <a:pt x="394649" y="590527"/>
                  </a:cubicBezTo>
                  <a:cubicBezTo>
                    <a:pt x="176487" y="590527"/>
                    <a:pt x="-1504" y="767413"/>
                    <a:pt x="-1504" y="985621"/>
                  </a:cubicBezTo>
                  <a:cubicBezTo>
                    <a:pt x="-1504" y="1203829"/>
                    <a:pt x="175343" y="1380717"/>
                    <a:pt x="393506" y="1380717"/>
                  </a:cubicBezTo>
                  <a:cubicBezTo>
                    <a:pt x="393836" y="1380717"/>
                    <a:pt x="393175" y="1380717"/>
                    <a:pt x="393506" y="1380717"/>
                  </a:cubicBezTo>
                  <a:cubicBezTo>
                    <a:pt x="460306" y="1380798"/>
                    <a:pt x="528936" y="1397837"/>
                    <a:pt x="590985" y="1433644"/>
                  </a:cubicBezTo>
                  <a:cubicBezTo>
                    <a:pt x="779597" y="1542542"/>
                    <a:pt x="844364" y="1783540"/>
                    <a:pt x="736071" y="1972380"/>
                  </a:cubicBezTo>
                  <a:cubicBezTo>
                    <a:pt x="667441" y="2090735"/>
                    <a:pt x="662181" y="2241437"/>
                    <a:pt x="735487" y="2368380"/>
                  </a:cubicBezTo>
                  <a:cubicBezTo>
                    <a:pt x="844542" y="2557348"/>
                    <a:pt x="1086234" y="2622141"/>
                    <a:pt x="1275176" y="2512984"/>
                  </a:cubicBezTo>
                  <a:lnTo>
                    <a:pt x="1959239" y="2117898"/>
                  </a:lnTo>
                  <a:lnTo>
                    <a:pt x="1959239" y="2117898"/>
                  </a:lnTo>
                  <a:cubicBezTo>
                    <a:pt x="2051347" y="2064716"/>
                    <a:pt x="2121781" y="1974667"/>
                    <a:pt x="2147038" y="1862740"/>
                  </a:cubicBezTo>
                  <a:cubicBezTo>
                    <a:pt x="2169830" y="1761655"/>
                    <a:pt x="2151637" y="1660905"/>
                    <a:pt x="2103512" y="1577853"/>
                  </a:cubicBezTo>
                  <a:lnTo>
                    <a:pt x="2103512" y="1577853"/>
                  </a:lnTo>
                  <a:close/>
                </a:path>
              </a:pathLst>
            </a:custGeom>
            <a:gradFill>
              <a:gsLst>
                <a:gs pos="25000">
                  <a:srgbClr val="F0A2AB"/>
                </a:gs>
                <a:gs pos="71000">
                  <a:srgbClr val="E00F60"/>
                </a:gs>
              </a:gsLst>
              <a:lin ang="2700000" scaled="1"/>
            </a:gra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FA20687-5682-3420-8A36-C8D45C866E3B}"/>
                </a:ext>
              </a:extLst>
            </p:cNvPr>
            <p:cNvSpPr/>
            <p:nvPr/>
          </p:nvSpPr>
          <p:spPr>
            <a:xfrm>
              <a:off x="6038881" y="658947"/>
              <a:ext cx="1473728" cy="1986988"/>
            </a:xfrm>
            <a:custGeom>
              <a:avLst/>
              <a:gdLst>
                <a:gd name="connsiteX0" fmla="*/ 1274718 w 1473728"/>
                <a:gd name="connsiteY0" fmla="*/ 457798 h 1986988"/>
                <a:gd name="connsiteX1" fmla="*/ 481777 w 1473728"/>
                <a:gd name="connsiteY1" fmla="*/ -305 h 1986988"/>
                <a:gd name="connsiteX2" fmla="*/ 394547 w 1473728"/>
                <a:gd name="connsiteY2" fmla="*/ 9991 h 1986988"/>
                <a:gd name="connsiteX3" fmla="*/ -1504 w 1473728"/>
                <a:gd name="connsiteY3" fmla="*/ 405333 h 1986988"/>
                <a:gd name="connsiteX4" fmla="*/ 393404 w 1473728"/>
                <a:gd name="connsiteY4" fmla="*/ 800673 h 1986988"/>
                <a:gd name="connsiteX5" fmla="*/ 590858 w 1473728"/>
                <a:gd name="connsiteY5" fmla="*/ 853633 h 1986988"/>
                <a:gd name="connsiteX6" fmla="*/ 735919 w 1473728"/>
                <a:gd name="connsiteY6" fmla="*/ 1392697 h 1986988"/>
                <a:gd name="connsiteX7" fmla="*/ 735334 w 1473728"/>
                <a:gd name="connsiteY7" fmla="*/ 1788952 h 1986988"/>
                <a:gd name="connsiteX8" fmla="*/ 1258761 w 1473728"/>
                <a:gd name="connsiteY8" fmla="*/ 1942473 h 1986988"/>
                <a:gd name="connsiteX9" fmla="*/ 1274718 w 1473728"/>
                <a:gd name="connsiteY9" fmla="*/ 1933250 h 1986988"/>
                <a:gd name="connsiteX10" fmla="*/ 1422472 w 1473728"/>
                <a:gd name="connsiteY10" fmla="*/ 1399126 h 1986988"/>
                <a:gd name="connsiteX11" fmla="*/ 1418025 w 1473728"/>
                <a:gd name="connsiteY11" fmla="*/ 1391300 h 1986988"/>
                <a:gd name="connsiteX12" fmla="*/ 1419270 w 1473728"/>
                <a:gd name="connsiteY12" fmla="*/ 997934 h 1986988"/>
                <a:gd name="connsiteX13" fmla="*/ 1274718 w 1473728"/>
                <a:gd name="connsiteY13" fmla="*/ 457879 h 198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73728" h="1986988">
                  <a:moveTo>
                    <a:pt x="1274718" y="457798"/>
                  </a:moveTo>
                  <a:lnTo>
                    <a:pt x="481777" y="-305"/>
                  </a:lnTo>
                  <a:cubicBezTo>
                    <a:pt x="453217" y="6284"/>
                    <a:pt x="424022" y="9910"/>
                    <a:pt x="394547" y="9991"/>
                  </a:cubicBezTo>
                  <a:cubicBezTo>
                    <a:pt x="176461" y="9991"/>
                    <a:pt x="-1504" y="186988"/>
                    <a:pt x="-1504" y="405333"/>
                  </a:cubicBezTo>
                  <a:cubicBezTo>
                    <a:pt x="-1504" y="623676"/>
                    <a:pt x="175292" y="800673"/>
                    <a:pt x="393404" y="800673"/>
                  </a:cubicBezTo>
                  <a:cubicBezTo>
                    <a:pt x="460204" y="800757"/>
                    <a:pt x="528834" y="817807"/>
                    <a:pt x="590858" y="853633"/>
                  </a:cubicBezTo>
                  <a:cubicBezTo>
                    <a:pt x="779419" y="962598"/>
                    <a:pt x="844187" y="1203755"/>
                    <a:pt x="735919" y="1392697"/>
                  </a:cubicBezTo>
                  <a:cubicBezTo>
                    <a:pt x="667289" y="1511129"/>
                    <a:pt x="662029" y="1661932"/>
                    <a:pt x="735334" y="1788952"/>
                  </a:cubicBezTo>
                  <a:cubicBezTo>
                    <a:pt x="841290" y="1972685"/>
                    <a:pt x="1072487" y="2039079"/>
                    <a:pt x="1258761" y="1942473"/>
                  </a:cubicBezTo>
                  <a:lnTo>
                    <a:pt x="1274718" y="1933250"/>
                  </a:lnTo>
                  <a:cubicBezTo>
                    <a:pt x="1461628" y="1825185"/>
                    <a:pt x="1526878" y="1587331"/>
                    <a:pt x="1422472" y="1399126"/>
                  </a:cubicBezTo>
                  <a:lnTo>
                    <a:pt x="1418025" y="1391300"/>
                  </a:lnTo>
                  <a:cubicBezTo>
                    <a:pt x="1351555" y="1273427"/>
                    <a:pt x="1346778" y="1123536"/>
                    <a:pt x="1419270" y="997934"/>
                  </a:cubicBezTo>
                  <a:cubicBezTo>
                    <a:pt x="1528276" y="808827"/>
                    <a:pt x="1463610" y="567093"/>
                    <a:pt x="1274718" y="457879"/>
                  </a:cubicBezTo>
                  <a:close/>
                </a:path>
              </a:pathLst>
            </a:custGeom>
            <a:solidFill>
              <a:srgbClr val="E70C60"/>
            </a:soli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98B9C8-77A8-3058-6E2A-F270B3CB745E}"/>
              </a:ext>
            </a:extLst>
          </p:cNvPr>
          <p:cNvSpPr txBox="1">
            <a:spLocks/>
          </p:cNvSpPr>
          <p:nvPr/>
        </p:nvSpPr>
        <p:spPr>
          <a:xfrm>
            <a:off x="604838" y="1471617"/>
            <a:ext cx="5861276" cy="22763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 spc="-100" baseline="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1" i="0" u="none" strike="noStrike" kern="1200" cap="none" spc="-100" normalizeH="0" baseline="0" noProof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sentyx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5F2FF5D-5CED-97D9-359E-9D774F1BC9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554506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CB9E1FAE-AE79-A8A9-3ACC-8D35117EF3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9E1FAE-AE79-A8A9-3ACC-8D35117EF3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8C6AD3C6-5432-5F05-2D52-D055DEBFB3D6}"/>
              </a:ext>
            </a:extLst>
          </p:cNvPr>
          <p:cNvSpPr txBox="1">
            <a:spLocks/>
          </p:cNvSpPr>
          <p:nvPr/>
        </p:nvSpPr>
        <p:spPr>
          <a:xfrm>
            <a:off x="542621" y="205495"/>
            <a:ext cx="11512326" cy="5551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SENTYX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>
                <a:solidFill>
                  <a:srgbClr val="002060"/>
                </a:solidFill>
                <a:latin typeface="Arial" panose="020B0604020202020204"/>
              </a:rPr>
              <a:t>S</a:t>
            </a: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AGE: Growth</a:t>
            </a:r>
            <a:b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</a:br>
            <a:endParaRPr kumimoji="0" lang="en-IN" sz="30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DDE9F6F-9EC9-F8EA-2F18-EC17D0750D21}"/>
              </a:ext>
            </a:extLst>
          </p:cNvPr>
          <p:cNvGrpSpPr/>
          <p:nvPr/>
        </p:nvGrpSpPr>
        <p:grpSpPr>
          <a:xfrm>
            <a:off x="435736" y="1014119"/>
            <a:ext cx="11516974" cy="836137"/>
            <a:chOff x="435736" y="1014119"/>
            <a:chExt cx="11516974" cy="83613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2ED35AB-C20F-51B7-9D9A-CE63170D41A2}"/>
                </a:ext>
              </a:extLst>
            </p:cNvPr>
            <p:cNvSpPr/>
            <p:nvPr/>
          </p:nvSpPr>
          <p:spPr>
            <a:xfrm>
              <a:off x="440384" y="1028375"/>
              <a:ext cx="11512326" cy="406537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6" name="Graphic 5" descr="User with solid fill">
              <a:extLst>
                <a:ext uri="{FF2B5EF4-FFF2-40B4-BE49-F238E27FC236}">
                  <a16:creationId xmlns:a16="http://schemas.microsoft.com/office/drawing/2014/main" id="{B84637A5-1E36-7200-7BD7-20C395045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4670386" y="1014600"/>
              <a:ext cx="349338" cy="39425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9152696-D7F5-4AB4-C797-B3D7CF234610}"/>
                </a:ext>
              </a:extLst>
            </p:cNvPr>
            <p:cNvSpPr/>
            <p:nvPr/>
          </p:nvSpPr>
          <p:spPr>
            <a:xfrm>
              <a:off x="9372599" y="1014119"/>
              <a:ext cx="2569605" cy="406537"/>
            </a:xfrm>
            <a:prstGeom prst="rect">
              <a:avLst/>
            </a:prstGeom>
            <a:solidFill>
              <a:srgbClr val="27531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471B69C-1A3B-DF82-4D2E-10AC035B429B}"/>
                </a:ext>
              </a:extLst>
            </p:cNvPr>
            <p:cNvSpPr/>
            <p:nvPr/>
          </p:nvSpPr>
          <p:spPr>
            <a:xfrm>
              <a:off x="4572615" y="1087934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rofil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42B8B87-DFE5-45D6-BCFB-9AEAA550AE86}"/>
                </a:ext>
              </a:extLst>
            </p:cNvPr>
            <p:cNvSpPr/>
            <p:nvPr/>
          </p:nvSpPr>
          <p:spPr>
            <a:xfrm>
              <a:off x="9918234" y="1038759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Innovation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7CA2DF2-FD51-013F-574D-674488387085}"/>
                </a:ext>
              </a:extLst>
            </p:cNvPr>
            <p:cNvSpPr txBox="1"/>
            <p:nvPr/>
          </p:nvSpPr>
          <p:spPr>
            <a:xfrm>
              <a:off x="2162875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4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7534481-1F4E-AA3E-BBFE-0973DD405E58}"/>
                </a:ext>
              </a:extLst>
            </p:cNvPr>
            <p:cNvSpPr txBox="1"/>
            <p:nvPr/>
          </p:nvSpPr>
          <p:spPr>
            <a:xfrm>
              <a:off x="10429787" y="1470549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2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D71E898-1AC4-34CE-F671-6E2C4DAE331E}"/>
                </a:ext>
              </a:extLst>
            </p:cNvPr>
            <p:cNvSpPr txBox="1"/>
            <p:nvPr/>
          </p:nvSpPr>
          <p:spPr>
            <a:xfrm>
              <a:off x="5217515" y="1480924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1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1F7F27A-2DBA-5163-F42B-2D812F30B7CA}"/>
                </a:ext>
              </a:extLst>
            </p:cNvPr>
            <p:cNvSpPr/>
            <p:nvPr/>
          </p:nvSpPr>
          <p:spPr>
            <a:xfrm>
              <a:off x="6095999" y="1033353"/>
              <a:ext cx="3276599" cy="390598"/>
            </a:xfrm>
            <a:prstGeom prst="rect">
              <a:avLst/>
            </a:prstGeom>
            <a:solidFill>
              <a:srgbClr val="022A4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           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Adoption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4FD2EFD-9949-F570-AD9E-8ADFBBE0F56F}"/>
                </a:ext>
              </a:extLst>
            </p:cNvPr>
            <p:cNvSpPr txBox="1"/>
            <p:nvPr/>
          </p:nvSpPr>
          <p:spPr>
            <a:xfrm>
              <a:off x="7734298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3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8" name="Graphic 17" descr="DNA with solid fill">
              <a:extLst>
                <a:ext uri="{FF2B5EF4-FFF2-40B4-BE49-F238E27FC236}">
                  <a16:creationId xmlns:a16="http://schemas.microsoft.com/office/drawing/2014/main" id="{DD6AA676-A568-DB28-4050-3BE7F79821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9532624">
              <a:off x="9866010" y="1052080"/>
              <a:ext cx="351019" cy="351019"/>
            </a:xfrm>
            <a:prstGeom prst="rect">
              <a:avLst/>
            </a:prstGeom>
          </p:spPr>
        </p:pic>
        <p:pic>
          <p:nvPicPr>
            <p:cNvPr id="8" name="Graphic 7" descr="First aid kit with solid fill">
              <a:extLst>
                <a:ext uri="{FF2B5EF4-FFF2-40B4-BE49-F238E27FC236}">
                  <a16:creationId xmlns:a16="http://schemas.microsoft.com/office/drawing/2014/main" id="{2AAB5AAE-2106-8373-9957-9C9F97D39A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298784" y="1038759"/>
              <a:ext cx="312298" cy="358409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03EE3BB-CBA7-20CD-BDED-55598BC6AD39}"/>
                </a:ext>
              </a:extLst>
            </p:cNvPr>
            <p:cNvSpPr/>
            <p:nvPr/>
          </p:nvSpPr>
          <p:spPr>
            <a:xfrm>
              <a:off x="435736" y="1025080"/>
              <a:ext cx="4203500" cy="41523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innerShdw blurRad="63500" dist="508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5" name="Graphic 4" descr="Mountains with solid fill">
              <a:extLst>
                <a:ext uri="{FF2B5EF4-FFF2-40B4-BE49-F238E27FC236}">
                  <a16:creationId xmlns:a16="http://schemas.microsoft.com/office/drawing/2014/main" id="{A42203DA-2A66-CA4C-8CF9-94EDC6AD0F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021797" y="1014119"/>
              <a:ext cx="341338" cy="394252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CD26741-C770-2F61-49B0-628D94E15223}"/>
                </a:ext>
              </a:extLst>
            </p:cNvPr>
            <p:cNvSpPr/>
            <p:nvPr/>
          </p:nvSpPr>
          <p:spPr>
            <a:xfrm>
              <a:off x="1988866" y="1080651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otential</a:t>
              </a:r>
            </a:p>
          </p:txBody>
        </p:sp>
      </p:grp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1EC57E09-C49C-95C1-239C-50CBBAFFCF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4402752"/>
              </p:ext>
            </p:extLst>
          </p:nvPr>
        </p:nvGraphicFramePr>
        <p:xfrm>
          <a:off x="8263337" y="2316634"/>
          <a:ext cx="3637443" cy="2028788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Innova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ig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9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30% (JAK + IL23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edium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%-30% (JAK + IL23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w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-15% (JAK + IL23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1938BD33-49DE-A7DB-A859-906CC0BAEF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3928745"/>
              </p:ext>
            </p:extLst>
          </p:nvPr>
        </p:nvGraphicFramePr>
        <p:xfrm>
          <a:off x="439896" y="2316634"/>
          <a:ext cx="2111521" cy="3073867"/>
        </p:xfrm>
        <a:graphic>
          <a:graphicData uri="http://schemas.openxmlformats.org/drawingml/2006/table">
            <a:tbl>
              <a:tblPr/>
              <a:tblGrid>
                <a:gridCol w="1239763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871758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Market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ALIMUMAB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TANERCEPT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RTOLIZUMAB PEGOL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LIMUMAB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LIXIMAB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CUKINUMAB</a:t>
                      </a:r>
                      <a:endParaRPr lang="es-MX" sz="12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XEKIZUMAB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MEKIZUMAB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sz="1200" b="1" kern="1200">
                          <a:solidFill>
                            <a:srgbClr val="27531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ADACITINIB</a:t>
                      </a:r>
                      <a:endParaRPr lang="es-MX" sz="1200" b="1" kern="1200">
                        <a:solidFill>
                          <a:srgbClr val="27531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TEKINUMAB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b="1" kern="1200">
                          <a:solidFill>
                            <a:srgbClr val="27531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USELKUMAB</a:t>
                      </a:r>
                      <a:endParaRPr lang="es-MX" sz="1200" b="1" kern="1200">
                        <a:solidFill>
                          <a:srgbClr val="27531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b="1" kern="1200">
                          <a:solidFill>
                            <a:srgbClr val="27531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SANKIZUMAB</a:t>
                      </a:r>
                      <a:endParaRPr lang="es-MX" sz="1200" b="1" kern="1200">
                        <a:solidFill>
                          <a:srgbClr val="27531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f</a:t>
                      </a:r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escriptions</a:t>
                      </a:r>
                      <a:endParaRPr lang="es-MX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AE0BC4B5-E99B-8968-189E-0DEA73C20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135871"/>
              </p:ext>
            </p:extLst>
          </p:nvPr>
        </p:nvGraphicFramePr>
        <p:xfrm>
          <a:off x="2649579" y="2316634"/>
          <a:ext cx="1769638" cy="2535985"/>
        </p:xfrm>
        <a:graphic>
          <a:graphicData uri="http://schemas.openxmlformats.org/drawingml/2006/table">
            <a:tbl>
              <a:tblPr/>
              <a:tblGrid>
                <a:gridCol w="1115642">
                  <a:extLst>
                    <a:ext uri="{9D8B030D-6E8A-4147-A177-3AD203B41FA5}">
                      <a16:colId xmlns:a16="http://schemas.microsoft.com/office/drawing/2014/main" val="2321963324"/>
                    </a:ext>
                  </a:extLst>
                </a:gridCol>
                <a:gridCol w="653996">
                  <a:extLst>
                    <a:ext uri="{9D8B030D-6E8A-4147-A177-3AD203B41FA5}">
                      <a16:colId xmlns:a16="http://schemas.microsoft.com/office/drawing/2014/main" val="3973014528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Profil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3006088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Dermatolog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388667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Reumatology</a:t>
                      </a:r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Arial Nova Cond" panose="020B0506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6601028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Internal Medicin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870216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Oth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5069074"/>
                  </a:ext>
                </a:extLst>
              </a:tr>
            </a:tbl>
          </a:graphicData>
        </a:graphic>
      </p:graphicFrame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FA7CF23F-E99C-4A58-C731-80DC1880DF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7301434"/>
              </p:ext>
            </p:extLst>
          </p:nvPr>
        </p:nvGraphicFramePr>
        <p:xfrm>
          <a:off x="4517379" y="2316634"/>
          <a:ext cx="3637443" cy="3008502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4725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Y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>
                          <a:effectLst/>
                        </a:rPr>
                        <a:t>(75%-100%) MS</a:t>
                      </a:r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ANS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>
                          <a:effectLst/>
                        </a:rPr>
                        <a:t>(50%-75%) MS</a:t>
                      </a:r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>
                          <a:effectLst/>
                        </a:rPr>
                        <a:t>(25%-50%) MS</a:t>
                      </a:r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>
                          <a:effectLst/>
                        </a:rPr>
                        <a:t>(1%-25%) MS</a:t>
                      </a:r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654914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 PRESCRIBE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>
                          <a:effectLst/>
                        </a:rPr>
                        <a:t>0%</a:t>
                      </a:r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153025"/>
                  </a:ext>
                </a:extLst>
              </a:tr>
            </a:tbl>
          </a:graphicData>
        </a:graphic>
      </p:graphicFrame>
      <p:pic>
        <p:nvPicPr>
          <p:cNvPr id="2" name="Picture 2" descr="Plantilla de Sello de Fecha Aprobado | PosterMyWall">
            <a:extLst>
              <a:ext uri="{FF2B5EF4-FFF2-40B4-BE49-F238E27FC236}">
                <a16:creationId xmlns:a16="http://schemas.microsoft.com/office/drawing/2014/main" id="{07E586FD-E4C7-5837-B387-4632F8CD8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6377" r="94493">
                        <a14:foregroundMark x1="7971" y1="51594" x2="9855" y2="60580"/>
                        <a14:foregroundMark x1="9855" y1="60580" x2="40870" y2="62174"/>
                        <a14:foregroundMark x1="40870" y1="62174" x2="88841" y2="45072"/>
                        <a14:foregroundMark x1="88841" y1="45072" x2="92319" y2="33188"/>
                        <a14:foregroundMark x1="92319" y1="33188" x2="91884" y2="29420"/>
                        <a14:foregroundMark x1="94493" y1="44203" x2="94493" y2="44203"/>
                        <a14:foregroundMark x1="6377" y1="53623" x2="6377" y2="5362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2222" y="4732849"/>
            <a:ext cx="1489982" cy="1489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78CDE27-E35C-138C-F29B-7141AF843803}"/>
              </a:ext>
            </a:extLst>
          </p:cNvPr>
          <p:cNvSpPr txBox="1"/>
          <p:nvPr/>
        </p:nvSpPr>
        <p:spPr>
          <a:xfrm>
            <a:off x="6955110" y="6201452"/>
            <a:ext cx="56847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/>
              <a:t>*</a:t>
            </a:r>
            <a:r>
              <a:rPr lang="es-MX" err="1"/>
              <a:t>Esteph</a:t>
            </a:r>
            <a:r>
              <a:rPr lang="es-MX"/>
              <a:t> solo pidió revisar los share promedio de Cosentyx para tomarlo como base en el </a:t>
            </a:r>
            <a:r>
              <a:rPr lang="es-MX" err="1"/>
              <a:t>adoption</a:t>
            </a:r>
            <a:r>
              <a:rPr lang="es-MX"/>
              <a:t>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3BD1652E-9774-7C20-33BA-A42742586F8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080127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8">
            <a:extLst>
              <a:ext uri="{FF2B5EF4-FFF2-40B4-BE49-F238E27FC236}">
                <a16:creationId xmlns:a16="http://schemas.microsoft.com/office/drawing/2014/main" id="{F84F267C-33BF-EEBB-4667-7ACC5F522542}"/>
              </a:ext>
            </a:extLst>
          </p:cNvPr>
          <p:cNvGrpSpPr/>
          <p:nvPr/>
        </p:nvGrpSpPr>
        <p:grpSpPr>
          <a:xfrm rot="18011585">
            <a:off x="6223000" y="509360"/>
            <a:ext cx="6640285" cy="6836228"/>
            <a:chOff x="5352836" y="79620"/>
            <a:chExt cx="2896636" cy="2960160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E9FCDE68-5AF6-F944-4A1C-24EAE380C9AB}"/>
                </a:ext>
              </a:extLst>
            </p:cNvPr>
            <p:cNvSpPr/>
            <p:nvPr/>
          </p:nvSpPr>
          <p:spPr>
            <a:xfrm>
              <a:off x="5352836" y="275269"/>
              <a:ext cx="2159765" cy="2764510"/>
            </a:xfrm>
            <a:custGeom>
              <a:avLst/>
              <a:gdLst>
                <a:gd name="connsiteX0" fmla="*/ 2108492 w 2159765"/>
                <a:gd name="connsiteY0" fmla="*/ 1782498 h 2764510"/>
                <a:gd name="connsiteX1" fmla="*/ 1960637 w 2159765"/>
                <a:gd name="connsiteY1" fmla="*/ 2315962 h 2764510"/>
                <a:gd name="connsiteX2" fmla="*/ 1276268 w 2159765"/>
                <a:gd name="connsiteY2" fmla="*/ 2711251 h 2764510"/>
                <a:gd name="connsiteX3" fmla="*/ 736452 w 2159765"/>
                <a:gd name="connsiteY3" fmla="*/ 2566724 h 2764510"/>
                <a:gd name="connsiteX4" fmla="*/ 737037 w 2159765"/>
                <a:gd name="connsiteY4" fmla="*/ 2170952 h 2764510"/>
                <a:gd name="connsiteX5" fmla="*/ 591646 w 2159765"/>
                <a:gd name="connsiteY5" fmla="*/ 1632432 h 2764510"/>
                <a:gd name="connsiteX6" fmla="*/ 395538 w 2159765"/>
                <a:gd name="connsiteY6" fmla="*/ 1579708 h 2764510"/>
                <a:gd name="connsiteX7" fmla="*/ 394395 w 2159765"/>
                <a:gd name="connsiteY7" fmla="*/ 1579708 h 2764510"/>
                <a:gd name="connsiteX8" fmla="*/ -589 w 2159765"/>
                <a:gd name="connsiteY8" fmla="*/ 1184350 h 2764510"/>
                <a:gd name="connsiteX9" fmla="*/ -1504 w 2159765"/>
                <a:gd name="connsiteY9" fmla="*/ 394618 h 2764510"/>
                <a:gd name="connsiteX10" fmla="*/ -1504 w 2159765"/>
                <a:gd name="connsiteY10" fmla="*/ 394618 h 2764510"/>
                <a:gd name="connsiteX11" fmla="*/ 51347 w 2159765"/>
                <a:gd name="connsiteY11" fmla="*/ 197185 h 2764510"/>
                <a:gd name="connsiteX12" fmla="*/ 591163 w 2159765"/>
                <a:gd name="connsiteY12" fmla="*/ 52648 h 2764510"/>
                <a:gd name="connsiteX13" fmla="*/ 1960637 w 2159765"/>
                <a:gd name="connsiteY13" fmla="*/ 842380 h 2764510"/>
                <a:gd name="connsiteX14" fmla="*/ 2105265 w 2159765"/>
                <a:gd name="connsiteY14" fmla="*/ 1381784 h 2764510"/>
                <a:gd name="connsiteX15" fmla="*/ 2104045 w 2159765"/>
                <a:gd name="connsiteY15" fmla="*/ 1774672 h 2764510"/>
                <a:gd name="connsiteX16" fmla="*/ 2108492 w 2159765"/>
                <a:gd name="connsiteY16" fmla="*/ 1782498 h 276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59765" h="2764510">
                  <a:moveTo>
                    <a:pt x="2108492" y="1782498"/>
                  </a:moveTo>
                  <a:cubicBezTo>
                    <a:pt x="2212949" y="1970474"/>
                    <a:pt x="2147673" y="2208126"/>
                    <a:pt x="1960637" y="2315962"/>
                  </a:cubicBezTo>
                  <a:lnTo>
                    <a:pt x="1276268" y="2711251"/>
                  </a:lnTo>
                  <a:cubicBezTo>
                    <a:pt x="1087250" y="2820256"/>
                    <a:pt x="845610" y="2755590"/>
                    <a:pt x="736452" y="2566724"/>
                  </a:cubicBezTo>
                  <a:cubicBezTo>
                    <a:pt x="663096" y="2439780"/>
                    <a:pt x="668458" y="2289155"/>
                    <a:pt x="737037" y="2170952"/>
                  </a:cubicBezTo>
                  <a:cubicBezTo>
                    <a:pt x="845711" y="1982137"/>
                    <a:pt x="780410" y="1741361"/>
                    <a:pt x="591646" y="1632432"/>
                  </a:cubicBezTo>
                  <a:cubicBezTo>
                    <a:pt x="529648" y="1596656"/>
                    <a:pt x="462314" y="1579784"/>
                    <a:pt x="395538" y="1579708"/>
                  </a:cubicBezTo>
                  <a:cubicBezTo>
                    <a:pt x="395132" y="1579708"/>
                    <a:pt x="394801" y="1579708"/>
                    <a:pt x="394395" y="1579708"/>
                  </a:cubicBezTo>
                  <a:cubicBezTo>
                    <a:pt x="176156" y="1579708"/>
                    <a:pt x="-589" y="1402434"/>
                    <a:pt x="-589" y="1184350"/>
                  </a:cubicBezTo>
                  <a:lnTo>
                    <a:pt x="-1504" y="394618"/>
                  </a:lnTo>
                  <a:lnTo>
                    <a:pt x="-1504" y="394618"/>
                  </a:lnTo>
                  <a:cubicBezTo>
                    <a:pt x="-1504" y="327490"/>
                    <a:pt x="15368" y="259460"/>
                    <a:pt x="51347" y="197185"/>
                  </a:cubicBezTo>
                  <a:cubicBezTo>
                    <a:pt x="160428" y="8306"/>
                    <a:pt x="402145" y="-56352"/>
                    <a:pt x="591163" y="52648"/>
                  </a:cubicBezTo>
                  <a:lnTo>
                    <a:pt x="1960637" y="842380"/>
                  </a:lnTo>
                  <a:cubicBezTo>
                    <a:pt x="2149655" y="951380"/>
                    <a:pt x="2214347" y="1192908"/>
                    <a:pt x="2105265" y="1381784"/>
                  </a:cubicBezTo>
                  <a:cubicBezTo>
                    <a:pt x="2032748" y="1507320"/>
                    <a:pt x="2037524" y="1657028"/>
                    <a:pt x="2104045" y="1774672"/>
                  </a:cubicBezTo>
                  <a:lnTo>
                    <a:pt x="2108492" y="1782498"/>
                  </a:lnTo>
                  <a:close/>
                </a:path>
              </a:pathLst>
            </a:custGeom>
            <a:gradFill flip="none" rotWithShape="1">
              <a:gsLst>
                <a:gs pos="60000">
                  <a:srgbClr val="0181AB"/>
                </a:gs>
                <a:gs pos="28000">
                  <a:srgbClr val="8FC7D3"/>
                </a:gs>
              </a:gsLst>
              <a:lin ang="2700000" scaled="1"/>
              <a:tileRect/>
            </a:gra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D09A1BE2-6F58-654D-E079-E86E376C8DD2}"/>
                </a:ext>
              </a:extLst>
            </p:cNvPr>
            <p:cNvSpPr/>
            <p:nvPr/>
          </p:nvSpPr>
          <p:spPr>
            <a:xfrm>
              <a:off x="6038881" y="79620"/>
              <a:ext cx="2210590" cy="2566313"/>
            </a:xfrm>
            <a:custGeom>
              <a:avLst/>
              <a:gdLst>
                <a:gd name="connsiteX0" fmla="*/ 2103436 w 2210590"/>
                <a:gd name="connsiteY0" fmla="*/ 1577934 h 2566313"/>
                <a:gd name="connsiteX1" fmla="*/ 2094289 w 2210590"/>
                <a:gd name="connsiteY1" fmla="*/ 1200289 h 2566313"/>
                <a:gd name="connsiteX2" fmla="*/ 2209087 w 2210590"/>
                <a:gd name="connsiteY2" fmla="*/ 789884 h 2566313"/>
                <a:gd name="connsiteX3" fmla="*/ 1419093 w 2210590"/>
                <a:gd name="connsiteY3" fmla="*/ -305 h 2566313"/>
                <a:gd name="connsiteX4" fmla="*/ 749640 w 2210590"/>
                <a:gd name="connsiteY4" fmla="*/ 370261 h 2566313"/>
                <a:gd name="connsiteX5" fmla="*/ 735588 w 2210590"/>
                <a:gd name="connsiteY5" fmla="*/ 392979 h 2566313"/>
                <a:gd name="connsiteX6" fmla="*/ 735588 w 2210590"/>
                <a:gd name="connsiteY6" fmla="*/ 392979 h 2566313"/>
                <a:gd name="connsiteX7" fmla="*/ 394649 w 2210590"/>
                <a:gd name="connsiteY7" fmla="*/ 590527 h 2566313"/>
                <a:gd name="connsiteX8" fmla="*/ 394649 w 2210590"/>
                <a:gd name="connsiteY8" fmla="*/ 590527 h 2566313"/>
                <a:gd name="connsiteX9" fmla="*/ -1504 w 2210590"/>
                <a:gd name="connsiteY9" fmla="*/ 985621 h 2566313"/>
                <a:gd name="connsiteX10" fmla="*/ 393506 w 2210590"/>
                <a:gd name="connsiteY10" fmla="*/ 1380717 h 2566313"/>
                <a:gd name="connsiteX11" fmla="*/ 393506 w 2210590"/>
                <a:gd name="connsiteY11" fmla="*/ 1380717 h 2566313"/>
                <a:gd name="connsiteX12" fmla="*/ 590985 w 2210590"/>
                <a:gd name="connsiteY12" fmla="*/ 1433644 h 2566313"/>
                <a:gd name="connsiteX13" fmla="*/ 736071 w 2210590"/>
                <a:gd name="connsiteY13" fmla="*/ 1972380 h 2566313"/>
                <a:gd name="connsiteX14" fmla="*/ 735487 w 2210590"/>
                <a:gd name="connsiteY14" fmla="*/ 2368380 h 2566313"/>
                <a:gd name="connsiteX15" fmla="*/ 1275176 w 2210590"/>
                <a:gd name="connsiteY15" fmla="*/ 2512984 h 2566313"/>
                <a:gd name="connsiteX16" fmla="*/ 1959239 w 2210590"/>
                <a:gd name="connsiteY16" fmla="*/ 2117898 h 2566313"/>
                <a:gd name="connsiteX17" fmla="*/ 1959239 w 2210590"/>
                <a:gd name="connsiteY17" fmla="*/ 2117898 h 2566313"/>
                <a:gd name="connsiteX18" fmla="*/ 2147038 w 2210590"/>
                <a:gd name="connsiteY18" fmla="*/ 1862740 h 2566313"/>
                <a:gd name="connsiteX19" fmla="*/ 2103512 w 2210590"/>
                <a:gd name="connsiteY19" fmla="*/ 1577853 h 2566313"/>
                <a:gd name="connsiteX20" fmla="*/ 2103512 w 2210590"/>
                <a:gd name="connsiteY20" fmla="*/ 1577853 h 256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10590" h="2566313">
                  <a:moveTo>
                    <a:pt x="2103436" y="1577934"/>
                  </a:moveTo>
                  <a:cubicBezTo>
                    <a:pt x="2033891" y="1457432"/>
                    <a:pt x="2035364" y="1315609"/>
                    <a:pt x="2094289" y="1200289"/>
                  </a:cubicBezTo>
                  <a:cubicBezTo>
                    <a:pt x="2167111" y="1080691"/>
                    <a:pt x="2209087" y="940184"/>
                    <a:pt x="2209087" y="789884"/>
                  </a:cubicBezTo>
                  <a:cubicBezTo>
                    <a:pt x="2209087" y="353468"/>
                    <a:pt x="1855392" y="-305"/>
                    <a:pt x="1419093" y="-305"/>
                  </a:cubicBezTo>
                  <a:cubicBezTo>
                    <a:pt x="1136925" y="-305"/>
                    <a:pt x="889390" y="147690"/>
                    <a:pt x="749640" y="370261"/>
                  </a:cubicBezTo>
                  <a:cubicBezTo>
                    <a:pt x="744710" y="377668"/>
                    <a:pt x="740035" y="385242"/>
                    <a:pt x="735588" y="392979"/>
                  </a:cubicBezTo>
                  <a:lnTo>
                    <a:pt x="735588" y="392979"/>
                  </a:lnTo>
                  <a:cubicBezTo>
                    <a:pt x="662664" y="519245"/>
                    <a:pt x="530588" y="590032"/>
                    <a:pt x="394649" y="590527"/>
                  </a:cubicBezTo>
                  <a:cubicBezTo>
                    <a:pt x="394243" y="590527"/>
                    <a:pt x="395056" y="590527"/>
                    <a:pt x="394649" y="590527"/>
                  </a:cubicBezTo>
                  <a:cubicBezTo>
                    <a:pt x="176487" y="590527"/>
                    <a:pt x="-1504" y="767413"/>
                    <a:pt x="-1504" y="985621"/>
                  </a:cubicBezTo>
                  <a:cubicBezTo>
                    <a:pt x="-1504" y="1203829"/>
                    <a:pt x="175343" y="1380717"/>
                    <a:pt x="393506" y="1380717"/>
                  </a:cubicBezTo>
                  <a:cubicBezTo>
                    <a:pt x="393836" y="1380717"/>
                    <a:pt x="393175" y="1380717"/>
                    <a:pt x="393506" y="1380717"/>
                  </a:cubicBezTo>
                  <a:cubicBezTo>
                    <a:pt x="460306" y="1380798"/>
                    <a:pt x="528936" y="1397837"/>
                    <a:pt x="590985" y="1433644"/>
                  </a:cubicBezTo>
                  <a:cubicBezTo>
                    <a:pt x="779597" y="1542542"/>
                    <a:pt x="844364" y="1783540"/>
                    <a:pt x="736071" y="1972380"/>
                  </a:cubicBezTo>
                  <a:cubicBezTo>
                    <a:pt x="667441" y="2090735"/>
                    <a:pt x="662181" y="2241437"/>
                    <a:pt x="735487" y="2368380"/>
                  </a:cubicBezTo>
                  <a:cubicBezTo>
                    <a:pt x="844542" y="2557348"/>
                    <a:pt x="1086234" y="2622141"/>
                    <a:pt x="1275176" y="2512984"/>
                  </a:cubicBezTo>
                  <a:lnTo>
                    <a:pt x="1959239" y="2117898"/>
                  </a:lnTo>
                  <a:lnTo>
                    <a:pt x="1959239" y="2117898"/>
                  </a:lnTo>
                  <a:cubicBezTo>
                    <a:pt x="2051347" y="2064716"/>
                    <a:pt x="2121781" y="1974667"/>
                    <a:pt x="2147038" y="1862740"/>
                  </a:cubicBezTo>
                  <a:cubicBezTo>
                    <a:pt x="2169830" y="1761655"/>
                    <a:pt x="2151637" y="1660905"/>
                    <a:pt x="2103512" y="1577853"/>
                  </a:cubicBezTo>
                  <a:lnTo>
                    <a:pt x="2103512" y="1577853"/>
                  </a:lnTo>
                  <a:close/>
                </a:path>
              </a:pathLst>
            </a:custGeom>
            <a:gradFill>
              <a:gsLst>
                <a:gs pos="52000">
                  <a:srgbClr val="F8A387"/>
                </a:gs>
                <a:gs pos="85000">
                  <a:srgbClr val="F2675C"/>
                </a:gs>
              </a:gsLst>
              <a:lin ang="2700000" scaled="1"/>
            </a:gra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FA20687-5682-3420-8A36-C8D45C866E3B}"/>
                </a:ext>
              </a:extLst>
            </p:cNvPr>
            <p:cNvSpPr/>
            <p:nvPr/>
          </p:nvSpPr>
          <p:spPr>
            <a:xfrm>
              <a:off x="6038881" y="658947"/>
              <a:ext cx="1473728" cy="1986988"/>
            </a:xfrm>
            <a:custGeom>
              <a:avLst/>
              <a:gdLst>
                <a:gd name="connsiteX0" fmla="*/ 1274718 w 1473728"/>
                <a:gd name="connsiteY0" fmla="*/ 457798 h 1986988"/>
                <a:gd name="connsiteX1" fmla="*/ 481777 w 1473728"/>
                <a:gd name="connsiteY1" fmla="*/ -305 h 1986988"/>
                <a:gd name="connsiteX2" fmla="*/ 394547 w 1473728"/>
                <a:gd name="connsiteY2" fmla="*/ 9991 h 1986988"/>
                <a:gd name="connsiteX3" fmla="*/ -1504 w 1473728"/>
                <a:gd name="connsiteY3" fmla="*/ 405333 h 1986988"/>
                <a:gd name="connsiteX4" fmla="*/ 393404 w 1473728"/>
                <a:gd name="connsiteY4" fmla="*/ 800673 h 1986988"/>
                <a:gd name="connsiteX5" fmla="*/ 590858 w 1473728"/>
                <a:gd name="connsiteY5" fmla="*/ 853633 h 1986988"/>
                <a:gd name="connsiteX6" fmla="*/ 735919 w 1473728"/>
                <a:gd name="connsiteY6" fmla="*/ 1392697 h 1986988"/>
                <a:gd name="connsiteX7" fmla="*/ 735334 w 1473728"/>
                <a:gd name="connsiteY7" fmla="*/ 1788952 h 1986988"/>
                <a:gd name="connsiteX8" fmla="*/ 1258761 w 1473728"/>
                <a:gd name="connsiteY8" fmla="*/ 1942473 h 1986988"/>
                <a:gd name="connsiteX9" fmla="*/ 1274718 w 1473728"/>
                <a:gd name="connsiteY9" fmla="*/ 1933250 h 1986988"/>
                <a:gd name="connsiteX10" fmla="*/ 1422472 w 1473728"/>
                <a:gd name="connsiteY10" fmla="*/ 1399126 h 1986988"/>
                <a:gd name="connsiteX11" fmla="*/ 1418025 w 1473728"/>
                <a:gd name="connsiteY11" fmla="*/ 1391300 h 1986988"/>
                <a:gd name="connsiteX12" fmla="*/ 1419270 w 1473728"/>
                <a:gd name="connsiteY12" fmla="*/ 997934 h 1986988"/>
                <a:gd name="connsiteX13" fmla="*/ 1274718 w 1473728"/>
                <a:gd name="connsiteY13" fmla="*/ 457879 h 198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73728" h="1986988">
                  <a:moveTo>
                    <a:pt x="1274718" y="457798"/>
                  </a:moveTo>
                  <a:lnTo>
                    <a:pt x="481777" y="-305"/>
                  </a:lnTo>
                  <a:cubicBezTo>
                    <a:pt x="453217" y="6284"/>
                    <a:pt x="424022" y="9910"/>
                    <a:pt x="394547" y="9991"/>
                  </a:cubicBezTo>
                  <a:cubicBezTo>
                    <a:pt x="176461" y="9991"/>
                    <a:pt x="-1504" y="186988"/>
                    <a:pt x="-1504" y="405333"/>
                  </a:cubicBezTo>
                  <a:cubicBezTo>
                    <a:pt x="-1504" y="623676"/>
                    <a:pt x="175292" y="800673"/>
                    <a:pt x="393404" y="800673"/>
                  </a:cubicBezTo>
                  <a:cubicBezTo>
                    <a:pt x="460204" y="800757"/>
                    <a:pt x="528834" y="817807"/>
                    <a:pt x="590858" y="853633"/>
                  </a:cubicBezTo>
                  <a:cubicBezTo>
                    <a:pt x="779419" y="962598"/>
                    <a:pt x="844187" y="1203755"/>
                    <a:pt x="735919" y="1392697"/>
                  </a:cubicBezTo>
                  <a:cubicBezTo>
                    <a:pt x="667289" y="1511129"/>
                    <a:pt x="662029" y="1661932"/>
                    <a:pt x="735334" y="1788952"/>
                  </a:cubicBezTo>
                  <a:cubicBezTo>
                    <a:pt x="841290" y="1972685"/>
                    <a:pt x="1072487" y="2039079"/>
                    <a:pt x="1258761" y="1942473"/>
                  </a:cubicBezTo>
                  <a:lnTo>
                    <a:pt x="1274718" y="1933250"/>
                  </a:lnTo>
                  <a:cubicBezTo>
                    <a:pt x="1461628" y="1825185"/>
                    <a:pt x="1526878" y="1587331"/>
                    <a:pt x="1422472" y="1399126"/>
                  </a:cubicBezTo>
                  <a:lnTo>
                    <a:pt x="1418025" y="1391300"/>
                  </a:lnTo>
                  <a:cubicBezTo>
                    <a:pt x="1351555" y="1273427"/>
                    <a:pt x="1346778" y="1123536"/>
                    <a:pt x="1419270" y="997934"/>
                  </a:cubicBezTo>
                  <a:cubicBezTo>
                    <a:pt x="1528276" y="808827"/>
                    <a:pt x="1463610" y="567093"/>
                    <a:pt x="1274718" y="457879"/>
                  </a:cubicBezTo>
                  <a:close/>
                </a:path>
              </a:pathLst>
            </a:custGeom>
            <a:solidFill>
              <a:srgbClr val="F2675C"/>
            </a:soli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98B9C8-77A8-3058-6E2A-F270B3CB745E}"/>
              </a:ext>
            </a:extLst>
          </p:cNvPr>
          <p:cNvSpPr txBox="1">
            <a:spLocks/>
          </p:cNvSpPr>
          <p:nvPr/>
        </p:nvSpPr>
        <p:spPr>
          <a:xfrm>
            <a:off x="604838" y="1471617"/>
            <a:ext cx="5861276" cy="22763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 spc="-100" baseline="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1" i="0" u="none" strike="noStrike" kern="1200" cap="none" spc="-100" normalizeH="0" baseline="0" noProof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BONSPRI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32D081-81D0-096F-DD0C-755A6B99E8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695030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CB9E1FAE-AE79-A8A9-3ACC-8D35117EF3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9E1FAE-AE79-A8A9-3ACC-8D35117EF3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8C6AD3C6-5432-5F05-2D52-D055DEBFB3D6}"/>
              </a:ext>
            </a:extLst>
          </p:cNvPr>
          <p:cNvSpPr txBox="1">
            <a:spLocks/>
          </p:cNvSpPr>
          <p:nvPr/>
        </p:nvSpPr>
        <p:spPr>
          <a:xfrm>
            <a:off x="542621" y="205495"/>
            <a:ext cx="11512326" cy="5551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BONSPRI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>
                <a:solidFill>
                  <a:srgbClr val="002060"/>
                </a:solidFill>
                <a:latin typeface="Arial" panose="020B0604020202020204"/>
              </a:rPr>
              <a:t>S</a:t>
            </a: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AGE: Penetration</a:t>
            </a:r>
            <a:b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</a:br>
            <a:endParaRPr kumimoji="0" lang="en-IN" sz="30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DDE9F6F-9EC9-F8EA-2F18-EC17D0750D21}"/>
              </a:ext>
            </a:extLst>
          </p:cNvPr>
          <p:cNvGrpSpPr/>
          <p:nvPr/>
        </p:nvGrpSpPr>
        <p:grpSpPr>
          <a:xfrm>
            <a:off x="435736" y="1008713"/>
            <a:ext cx="11516974" cy="841543"/>
            <a:chOff x="435736" y="1008713"/>
            <a:chExt cx="11516974" cy="84154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2ED35AB-C20F-51B7-9D9A-CE63170D41A2}"/>
                </a:ext>
              </a:extLst>
            </p:cNvPr>
            <p:cNvSpPr/>
            <p:nvPr/>
          </p:nvSpPr>
          <p:spPr>
            <a:xfrm>
              <a:off x="440384" y="1028375"/>
              <a:ext cx="11512326" cy="406537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6" name="Graphic 5" descr="User with solid fill">
              <a:extLst>
                <a:ext uri="{FF2B5EF4-FFF2-40B4-BE49-F238E27FC236}">
                  <a16:creationId xmlns:a16="http://schemas.microsoft.com/office/drawing/2014/main" id="{B84637A5-1E36-7200-7BD7-20C395045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4670386" y="1014600"/>
              <a:ext cx="349338" cy="39425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9152696-D7F5-4AB4-C797-B3D7CF234610}"/>
                </a:ext>
              </a:extLst>
            </p:cNvPr>
            <p:cNvSpPr/>
            <p:nvPr/>
          </p:nvSpPr>
          <p:spPr>
            <a:xfrm>
              <a:off x="7736965" y="1014119"/>
              <a:ext cx="4205240" cy="406538"/>
            </a:xfrm>
            <a:prstGeom prst="rect">
              <a:avLst/>
            </a:prstGeom>
            <a:solidFill>
              <a:srgbClr val="27531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471B69C-1A3B-DF82-4D2E-10AC035B429B}"/>
                </a:ext>
              </a:extLst>
            </p:cNvPr>
            <p:cNvSpPr/>
            <p:nvPr/>
          </p:nvSpPr>
          <p:spPr>
            <a:xfrm>
              <a:off x="4572615" y="1087934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rofil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42B8B87-DFE5-45D6-BCFB-9AEAA550AE86}"/>
                </a:ext>
              </a:extLst>
            </p:cNvPr>
            <p:cNvSpPr/>
            <p:nvPr/>
          </p:nvSpPr>
          <p:spPr>
            <a:xfrm>
              <a:off x="8392185" y="1048076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Innovation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7CA2DF2-FD51-013F-574D-674488387085}"/>
                </a:ext>
              </a:extLst>
            </p:cNvPr>
            <p:cNvSpPr txBox="1"/>
            <p:nvPr/>
          </p:nvSpPr>
          <p:spPr>
            <a:xfrm>
              <a:off x="2162875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4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7534481-1F4E-AA3E-BBFE-0973DD405E58}"/>
                </a:ext>
              </a:extLst>
            </p:cNvPr>
            <p:cNvSpPr txBox="1"/>
            <p:nvPr/>
          </p:nvSpPr>
          <p:spPr>
            <a:xfrm>
              <a:off x="9134451" y="1480924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4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D71E898-1AC4-34CE-F671-6E2C4DAE331E}"/>
                </a:ext>
              </a:extLst>
            </p:cNvPr>
            <p:cNvSpPr txBox="1"/>
            <p:nvPr/>
          </p:nvSpPr>
          <p:spPr>
            <a:xfrm>
              <a:off x="5217515" y="1480924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1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1F7F27A-2DBA-5163-F42B-2D812F30B7CA}"/>
                </a:ext>
              </a:extLst>
            </p:cNvPr>
            <p:cNvSpPr/>
            <p:nvPr/>
          </p:nvSpPr>
          <p:spPr>
            <a:xfrm>
              <a:off x="6096000" y="1008713"/>
              <a:ext cx="1676784" cy="412521"/>
            </a:xfrm>
            <a:prstGeom prst="rect">
              <a:avLst/>
            </a:prstGeom>
            <a:solidFill>
              <a:srgbClr val="022A4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           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Adoption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4FD2EFD-9949-F570-AD9E-8ADFBBE0F56F}"/>
                </a:ext>
              </a:extLst>
            </p:cNvPr>
            <p:cNvSpPr txBox="1"/>
            <p:nvPr/>
          </p:nvSpPr>
          <p:spPr>
            <a:xfrm>
              <a:off x="6721582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1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8" name="Graphic 17" descr="DNA with solid fill">
              <a:extLst>
                <a:ext uri="{FF2B5EF4-FFF2-40B4-BE49-F238E27FC236}">
                  <a16:creationId xmlns:a16="http://schemas.microsoft.com/office/drawing/2014/main" id="{DD6AA676-A568-DB28-4050-3BE7F79821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9532624">
              <a:off x="8339961" y="1061397"/>
              <a:ext cx="351019" cy="351019"/>
            </a:xfrm>
            <a:prstGeom prst="rect">
              <a:avLst/>
            </a:prstGeom>
          </p:spPr>
        </p:pic>
        <p:pic>
          <p:nvPicPr>
            <p:cNvPr id="8" name="Graphic 7" descr="First aid kit with solid fill">
              <a:extLst>
                <a:ext uri="{FF2B5EF4-FFF2-40B4-BE49-F238E27FC236}">
                  <a16:creationId xmlns:a16="http://schemas.microsoft.com/office/drawing/2014/main" id="{2AAB5AAE-2106-8373-9957-9C9F97D39A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298784" y="1038759"/>
              <a:ext cx="312298" cy="358409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03EE3BB-CBA7-20CD-BDED-55598BC6AD39}"/>
                </a:ext>
              </a:extLst>
            </p:cNvPr>
            <p:cNvSpPr/>
            <p:nvPr/>
          </p:nvSpPr>
          <p:spPr>
            <a:xfrm>
              <a:off x="435736" y="1025080"/>
              <a:ext cx="4203500" cy="41523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innerShdw blurRad="63500" dist="508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5" name="Graphic 4" descr="Mountains with solid fill">
              <a:extLst>
                <a:ext uri="{FF2B5EF4-FFF2-40B4-BE49-F238E27FC236}">
                  <a16:creationId xmlns:a16="http://schemas.microsoft.com/office/drawing/2014/main" id="{A42203DA-2A66-CA4C-8CF9-94EDC6AD0F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021797" y="1014119"/>
              <a:ext cx="341338" cy="394252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CD26741-C770-2F61-49B0-628D94E15223}"/>
                </a:ext>
              </a:extLst>
            </p:cNvPr>
            <p:cNvSpPr/>
            <p:nvPr/>
          </p:nvSpPr>
          <p:spPr>
            <a:xfrm>
              <a:off x="1988866" y="1080651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otential</a:t>
              </a:r>
            </a:p>
          </p:txBody>
        </p:sp>
      </p:grp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1EC57E09-C49C-95C1-239C-50CBBAFFCF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5369331"/>
              </p:ext>
            </p:extLst>
          </p:nvPr>
        </p:nvGraphicFramePr>
        <p:xfrm>
          <a:off x="8263337" y="2316634"/>
          <a:ext cx="3637443" cy="2028788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Innova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ig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25% High 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fficacy</a:t>
                      </a:r>
                      <a:endParaRPr lang="es-MX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edium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%-25% High 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fficacy</a:t>
                      </a:r>
                      <a:endParaRPr lang="es-MX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w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-10% High 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fficacy</a:t>
                      </a:r>
                      <a:endParaRPr lang="es-MX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1938BD33-49DE-A7DB-A859-906CC0BAEF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3145046"/>
              </p:ext>
            </p:extLst>
          </p:nvPr>
        </p:nvGraphicFramePr>
        <p:xfrm>
          <a:off x="439896" y="2316634"/>
          <a:ext cx="2111521" cy="2403307"/>
        </p:xfrm>
        <a:graphic>
          <a:graphicData uri="http://schemas.openxmlformats.org/drawingml/2006/table">
            <a:tbl>
              <a:tblPr/>
              <a:tblGrid>
                <a:gridCol w="1239763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871758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Market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LENYA (NVR)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YSABRI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VENCLAD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CFIDERA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CREVUS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BAGIO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NSPRI (NVR)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ZENT (NVR)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MTRADA</a:t>
                      </a:r>
                      <a:endParaRPr lang="es-MX" sz="12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ctr"/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f</a:t>
                      </a:r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escriptions</a:t>
                      </a:r>
                      <a:endParaRPr lang="es-MX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AE0BC4B5-E99B-8968-189E-0DEA73C20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2985507"/>
              </p:ext>
            </p:extLst>
          </p:nvPr>
        </p:nvGraphicFramePr>
        <p:xfrm>
          <a:off x="2649579" y="2316634"/>
          <a:ext cx="1769638" cy="2535985"/>
        </p:xfrm>
        <a:graphic>
          <a:graphicData uri="http://schemas.openxmlformats.org/drawingml/2006/table">
            <a:tbl>
              <a:tblPr/>
              <a:tblGrid>
                <a:gridCol w="1115642">
                  <a:extLst>
                    <a:ext uri="{9D8B030D-6E8A-4147-A177-3AD203B41FA5}">
                      <a16:colId xmlns:a16="http://schemas.microsoft.com/office/drawing/2014/main" val="2321963324"/>
                    </a:ext>
                  </a:extLst>
                </a:gridCol>
                <a:gridCol w="653996">
                  <a:extLst>
                    <a:ext uri="{9D8B030D-6E8A-4147-A177-3AD203B41FA5}">
                      <a16:colId xmlns:a16="http://schemas.microsoft.com/office/drawing/2014/main" val="3973014528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Profil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3006088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Neuro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388667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Internal Medicin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6601028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General Medicin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870216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Oth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5069074"/>
                  </a:ext>
                </a:extLst>
              </a:tr>
            </a:tbl>
          </a:graphicData>
        </a:graphic>
      </p:graphicFrame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FA7CF23F-E99C-4A58-C731-80DC1880DF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2654792"/>
              </p:ext>
            </p:extLst>
          </p:nvPr>
        </p:nvGraphicFramePr>
        <p:xfrm>
          <a:off x="4517379" y="2316634"/>
          <a:ext cx="3637443" cy="3008502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4725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Y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41%-10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ANS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26%-4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1%-25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%-1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654914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 PRESCRIBE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153025"/>
                  </a:ext>
                </a:extLst>
              </a:tr>
            </a:tbl>
          </a:graphicData>
        </a:graphic>
      </p:graphicFrame>
      <p:pic>
        <p:nvPicPr>
          <p:cNvPr id="3074" name="Picture 2" descr="Plantilla de Sello de Fecha Aprobado | PosterMyWall">
            <a:extLst>
              <a:ext uri="{FF2B5EF4-FFF2-40B4-BE49-F238E27FC236}">
                <a16:creationId xmlns:a16="http://schemas.microsoft.com/office/drawing/2014/main" id="{8D983684-5ACB-17B8-0B6D-FCA8A5196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6377" r="94493">
                        <a14:foregroundMark x1="7971" y1="51594" x2="9855" y2="60580"/>
                        <a14:foregroundMark x1="9855" y1="60580" x2="40870" y2="62174"/>
                        <a14:foregroundMark x1="40870" y1="62174" x2="88841" y2="45072"/>
                        <a14:foregroundMark x1="88841" y1="45072" x2="92319" y2="33188"/>
                        <a14:foregroundMark x1="92319" y1="33188" x2="91884" y2="29420"/>
                        <a14:foregroundMark x1="94493" y1="44203" x2="94493" y2="44203"/>
                        <a14:foregroundMark x1="6377" y1="53623" x2="6377" y2="5362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2389" y="5487761"/>
            <a:ext cx="1489982" cy="1489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5F7D352-387F-7334-3203-99E64243BA7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25726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8">
            <a:extLst>
              <a:ext uri="{FF2B5EF4-FFF2-40B4-BE49-F238E27FC236}">
                <a16:creationId xmlns:a16="http://schemas.microsoft.com/office/drawing/2014/main" id="{F84F267C-33BF-EEBB-4667-7ACC5F522542}"/>
              </a:ext>
            </a:extLst>
          </p:cNvPr>
          <p:cNvGrpSpPr/>
          <p:nvPr/>
        </p:nvGrpSpPr>
        <p:grpSpPr>
          <a:xfrm rot="18011585">
            <a:off x="6223000" y="509360"/>
            <a:ext cx="6640285" cy="6836228"/>
            <a:chOff x="5352836" y="79620"/>
            <a:chExt cx="2896636" cy="2960160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E9FCDE68-5AF6-F944-4A1C-24EAE380C9AB}"/>
                </a:ext>
              </a:extLst>
            </p:cNvPr>
            <p:cNvSpPr/>
            <p:nvPr/>
          </p:nvSpPr>
          <p:spPr>
            <a:xfrm>
              <a:off x="5352836" y="275269"/>
              <a:ext cx="2159765" cy="2764510"/>
            </a:xfrm>
            <a:custGeom>
              <a:avLst/>
              <a:gdLst>
                <a:gd name="connsiteX0" fmla="*/ 2108492 w 2159765"/>
                <a:gd name="connsiteY0" fmla="*/ 1782498 h 2764510"/>
                <a:gd name="connsiteX1" fmla="*/ 1960637 w 2159765"/>
                <a:gd name="connsiteY1" fmla="*/ 2315962 h 2764510"/>
                <a:gd name="connsiteX2" fmla="*/ 1276268 w 2159765"/>
                <a:gd name="connsiteY2" fmla="*/ 2711251 h 2764510"/>
                <a:gd name="connsiteX3" fmla="*/ 736452 w 2159765"/>
                <a:gd name="connsiteY3" fmla="*/ 2566724 h 2764510"/>
                <a:gd name="connsiteX4" fmla="*/ 737037 w 2159765"/>
                <a:gd name="connsiteY4" fmla="*/ 2170952 h 2764510"/>
                <a:gd name="connsiteX5" fmla="*/ 591646 w 2159765"/>
                <a:gd name="connsiteY5" fmla="*/ 1632432 h 2764510"/>
                <a:gd name="connsiteX6" fmla="*/ 395538 w 2159765"/>
                <a:gd name="connsiteY6" fmla="*/ 1579708 h 2764510"/>
                <a:gd name="connsiteX7" fmla="*/ 394395 w 2159765"/>
                <a:gd name="connsiteY7" fmla="*/ 1579708 h 2764510"/>
                <a:gd name="connsiteX8" fmla="*/ -589 w 2159765"/>
                <a:gd name="connsiteY8" fmla="*/ 1184350 h 2764510"/>
                <a:gd name="connsiteX9" fmla="*/ -1504 w 2159765"/>
                <a:gd name="connsiteY9" fmla="*/ 394618 h 2764510"/>
                <a:gd name="connsiteX10" fmla="*/ -1504 w 2159765"/>
                <a:gd name="connsiteY10" fmla="*/ 394618 h 2764510"/>
                <a:gd name="connsiteX11" fmla="*/ 51347 w 2159765"/>
                <a:gd name="connsiteY11" fmla="*/ 197185 h 2764510"/>
                <a:gd name="connsiteX12" fmla="*/ 591163 w 2159765"/>
                <a:gd name="connsiteY12" fmla="*/ 52648 h 2764510"/>
                <a:gd name="connsiteX13" fmla="*/ 1960637 w 2159765"/>
                <a:gd name="connsiteY13" fmla="*/ 842380 h 2764510"/>
                <a:gd name="connsiteX14" fmla="*/ 2105265 w 2159765"/>
                <a:gd name="connsiteY14" fmla="*/ 1381784 h 2764510"/>
                <a:gd name="connsiteX15" fmla="*/ 2104045 w 2159765"/>
                <a:gd name="connsiteY15" fmla="*/ 1774672 h 2764510"/>
                <a:gd name="connsiteX16" fmla="*/ 2108492 w 2159765"/>
                <a:gd name="connsiteY16" fmla="*/ 1782498 h 276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59765" h="2764510">
                  <a:moveTo>
                    <a:pt x="2108492" y="1782498"/>
                  </a:moveTo>
                  <a:cubicBezTo>
                    <a:pt x="2212949" y="1970474"/>
                    <a:pt x="2147673" y="2208126"/>
                    <a:pt x="1960637" y="2315962"/>
                  </a:cubicBezTo>
                  <a:lnTo>
                    <a:pt x="1276268" y="2711251"/>
                  </a:lnTo>
                  <a:cubicBezTo>
                    <a:pt x="1087250" y="2820256"/>
                    <a:pt x="845610" y="2755590"/>
                    <a:pt x="736452" y="2566724"/>
                  </a:cubicBezTo>
                  <a:cubicBezTo>
                    <a:pt x="663096" y="2439780"/>
                    <a:pt x="668458" y="2289155"/>
                    <a:pt x="737037" y="2170952"/>
                  </a:cubicBezTo>
                  <a:cubicBezTo>
                    <a:pt x="845711" y="1982137"/>
                    <a:pt x="780410" y="1741361"/>
                    <a:pt x="591646" y="1632432"/>
                  </a:cubicBezTo>
                  <a:cubicBezTo>
                    <a:pt x="529648" y="1596656"/>
                    <a:pt x="462314" y="1579784"/>
                    <a:pt x="395538" y="1579708"/>
                  </a:cubicBezTo>
                  <a:cubicBezTo>
                    <a:pt x="395132" y="1579708"/>
                    <a:pt x="394801" y="1579708"/>
                    <a:pt x="394395" y="1579708"/>
                  </a:cubicBezTo>
                  <a:cubicBezTo>
                    <a:pt x="176156" y="1579708"/>
                    <a:pt x="-589" y="1402434"/>
                    <a:pt x="-589" y="1184350"/>
                  </a:cubicBezTo>
                  <a:lnTo>
                    <a:pt x="-1504" y="394618"/>
                  </a:lnTo>
                  <a:lnTo>
                    <a:pt x="-1504" y="394618"/>
                  </a:lnTo>
                  <a:cubicBezTo>
                    <a:pt x="-1504" y="327490"/>
                    <a:pt x="15368" y="259460"/>
                    <a:pt x="51347" y="197185"/>
                  </a:cubicBezTo>
                  <a:cubicBezTo>
                    <a:pt x="160428" y="8306"/>
                    <a:pt x="402145" y="-56352"/>
                    <a:pt x="591163" y="52648"/>
                  </a:cubicBezTo>
                  <a:lnTo>
                    <a:pt x="1960637" y="842380"/>
                  </a:lnTo>
                  <a:cubicBezTo>
                    <a:pt x="2149655" y="951380"/>
                    <a:pt x="2214347" y="1192908"/>
                    <a:pt x="2105265" y="1381784"/>
                  </a:cubicBezTo>
                  <a:cubicBezTo>
                    <a:pt x="2032748" y="1507320"/>
                    <a:pt x="2037524" y="1657028"/>
                    <a:pt x="2104045" y="1774672"/>
                  </a:cubicBezTo>
                  <a:lnTo>
                    <a:pt x="2108492" y="1782498"/>
                  </a:lnTo>
                  <a:close/>
                </a:path>
              </a:pathLst>
            </a:custGeom>
            <a:gradFill flip="none" rotWithShape="1">
              <a:gsLst>
                <a:gs pos="60000">
                  <a:srgbClr val="0181AB"/>
                </a:gs>
                <a:gs pos="28000">
                  <a:srgbClr val="8FC7D3"/>
                </a:gs>
              </a:gsLst>
              <a:lin ang="2700000" scaled="1"/>
              <a:tileRect/>
            </a:gra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D09A1BE2-6F58-654D-E079-E86E376C8DD2}"/>
                </a:ext>
              </a:extLst>
            </p:cNvPr>
            <p:cNvSpPr/>
            <p:nvPr/>
          </p:nvSpPr>
          <p:spPr>
            <a:xfrm>
              <a:off x="6038881" y="79620"/>
              <a:ext cx="2210590" cy="2566313"/>
            </a:xfrm>
            <a:custGeom>
              <a:avLst/>
              <a:gdLst>
                <a:gd name="connsiteX0" fmla="*/ 2103436 w 2210590"/>
                <a:gd name="connsiteY0" fmla="*/ 1577934 h 2566313"/>
                <a:gd name="connsiteX1" fmla="*/ 2094289 w 2210590"/>
                <a:gd name="connsiteY1" fmla="*/ 1200289 h 2566313"/>
                <a:gd name="connsiteX2" fmla="*/ 2209087 w 2210590"/>
                <a:gd name="connsiteY2" fmla="*/ 789884 h 2566313"/>
                <a:gd name="connsiteX3" fmla="*/ 1419093 w 2210590"/>
                <a:gd name="connsiteY3" fmla="*/ -305 h 2566313"/>
                <a:gd name="connsiteX4" fmla="*/ 749640 w 2210590"/>
                <a:gd name="connsiteY4" fmla="*/ 370261 h 2566313"/>
                <a:gd name="connsiteX5" fmla="*/ 735588 w 2210590"/>
                <a:gd name="connsiteY5" fmla="*/ 392979 h 2566313"/>
                <a:gd name="connsiteX6" fmla="*/ 735588 w 2210590"/>
                <a:gd name="connsiteY6" fmla="*/ 392979 h 2566313"/>
                <a:gd name="connsiteX7" fmla="*/ 394649 w 2210590"/>
                <a:gd name="connsiteY7" fmla="*/ 590527 h 2566313"/>
                <a:gd name="connsiteX8" fmla="*/ 394649 w 2210590"/>
                <a:gd name="connsiteY8" fmla="*/ 590527 h 2566313"/>
                <a:gd name="connsiteX9" fmla="*/ -1504 w 2210590"/>
                <a:gd name="connsiteY9" fmla="*/ 985621 h 2566313"/>
                <a:gd name="connsiteX10" fmla="*/ 393506 w 2210590"/>
                <a:gd name="connsiteY10" fmla="*/ 1380717 h 2566313"/>
                <a:gd name="connsiteX11" fmla="*/ 393506 w 2210590"/>
                <a:gd name="connsiteY11" fmla="*/ 1380717 h 2566313"/>
                <a:gd name="connsiteX12" fmla="*/ 590985 w 2210590"/>
                <a:gd name="connsiteY12" fmla="*/ 1433644 h 2566313"/>
                <a:gd name="connsiteX13" fmla="*/ 736071 w 2210590"/>
                <a:gd name="connsiteY13" fmla="*/ 1972380 h 2566313"/>
                <a:gd name="connsiteX14" fmla="*/ 735487 w 2210590"/>
                <a:gd name="connsiteY14" fmla="*/ 2368380 h 2566313"/>
                <a:gd name="connsiteX15" fmla="*/ 1275176 w 2210590"/>
                <a:gd name="connsiteY15" fmla="*/ 2512984 h 2566313"/>
                <a:gd name="connsiteX16" fmla="*/ 1959239 w 2210590"/>
                <a:gd name="connsiteY16" fmla="*/ 2117898 h 2566313"/>
                <a:gd name="connsiteX17" fmla="*/ 1959239 w 2210590"/>
                <a:gd name="connsiteY17" fmla="*/ 2117898 h 2566313"/>
                <a:gd name="connsiteX18" fmla="*/ 2147038 w 2210590"/>
                <a:gd name="connsiteY18" fmla="*/ 1862740 h 2566313"/>
                <a:gd name="connsiteX19" fmla="*/ 2103512 w 2210590"/>
                <a:gd name="connsiteY19" fmla="*/ 1577853 h 2566313"/>
                <a:gd name="connsiteX20" fmla="*/ 2103512 w 2210590"/>
                <a:gd name="connsiteY20" fmla="*/ 1577853 h 256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10590" h="2566313">
                  <a:moveTo>
                    <a:pt x="2103436" y="1577934"/>
                  </a:moveTo>
                  <a:cubicBezTo>
                    <a:pt x="2033891" y="1457432"/>
                    <a:pt x="2035364" y="1315609"/>
                    <a:pt x="2094289" y="1200289"/>
                  </a:cubicBezTo>
                  <a:cubicBezTo>
                    <a:pt x="2167111" y="1080691"/>
                    <a:pt x="2209087" y="940184"/>
                    <a:pt x="2209087" y="789884"/>
                  </a:cubicBezTo>
                  <a:cubicBezTo>
                    <a:pt x="2209087" y="353468"/>
                    <a:pt x="1855392" y="-305"/>
                    <a:pt x="1419093" y="-305"/>
                  </a:cubicBezTo>
                  <a:cubicBezTo>
                    <a:pt x="1136925" y="-305"/>
                    <a:pt x="889390" y="147690"/>
                    <a:pt x="749640" y="370261"/>
                  </a:cubicBezTo>
                  <a:cubicBezTo>
                    <a:pt x="744710" y="377668"/>
                    <a:pt x="740035" y="385242"/>
                    <a:pt x="735588" y="392979"/>
                  </a:cubicBezTo>
                  <a:lnTo>
                    <a:pt x="735588" y="392979"/>
                  </a:lnTo>
                  <a:cubicBezTo>
                    <a:pt x="662664" y="519245"/>
                    <a:pt x="530588" y="590032"/>
                    <a:pt x="394649" y="590527"/>
                  </a:cubicBezTo>
                  <a:cubicBezTo>
                    <a:pt x="394243" y="590527"/>
                    <a:pt x="395056" y="590527"/>
                    <a:pt x="394649" y="590527"/>
                  </a:cubicBezTo>
                  <a:cubicBezTo>
                    <a:pt x="176487" y="590527"/>
                    <a:pt x="-1504" y="767413"/>
                    <a:pt x="-1504" y="985621"/>
                  </a:cubicBezTo>
                  <a:cubicBezTo>
                    <a:pt x="-1504" y="1203829"/>
                    <a:pt x="175343" y="1380717"/>
                    <a:pt x="393506" y="1380717"/>
                  </a:cubicBezTo>
                  <a:cubicBezTo>
                    <a:pt x="393836" y="1380717"/>
                    <a:pt x="393175" y="1380717"/>
                    <a:pt x="393506" y="1380717"/>
                  </a:cubicBezTo>
                  <a:cubicBezTo>
                    <a:pt x="460306" y="1380798"/>
                    <a:pt x="528936" y="1397837"/>
                    <a:pt x="590985" y="1433644"/>
                  </a:cubicBezTo>
                  <a:cubicBezTo>
                    <a:pt x="779597" y="1542542"/>
                    <a:pt x="844364" y="1783540"/>
                    <a:pt x="736071" y="1972380"/>
                  </a:cubicBezTo>
                  <a:cubicBezTo>
                    <a:pt x="667441" y="2090735"/>
                    <a:pt x="662181" y="2241437"/>
                    <a:pt x="735487" y="2368380"/>
                  </a:cubicBezTo>
                  <a:cubicBezTo>
                    <a:pt x="844542" y="2557348"/>
                    <a:pt x="1086234" y="2622141"/>
                    <a:pt x="1275176" y="2512984"/>
                  </a:cubicBezTo>
                  <a:lnTo>
                    <a:pt x="1959239" y="2117898"/>
                  </a:lnTo>
                  <a:lnTo>
                    <a:pt x="1959239" y="2117898"/>
                  </a:lnTo>
                  <a:cubicBezTo>
                    <a:pt x="2051347" y="2064716"/>
                    <a:pt x="2121781" y="1974667"/>
                    <a:pt x="2147038" y="1862740"/>
                  </a:cubicBezTo>
                  <a:cubicBezTo>
                    <a:pt x="2169830" y="1761655"/>
                    <a:pt x="2151637" y="1660905"/>
                    <a:pt x="2103512" y="1577853"/>
                  </a:cubicBezTo>
                  <a:lnTo>
                    <a:pt x="2103512" y="157785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FA20687-5682-3420-8A36-C8D45C866E3B}"/>
                </a:ext>
              </a:extLst>
            </p:cNvPr>
            <p:cNvSpPr/>
            <p:nvPr/>
          </p:nvSpPr>
          <p:spPr>
            <a:xfrm>
              <a:off x="6038881" y="658947"/>
              <a:ext cx="1473728" cy="1986988"/>
            </a:xfrm>
            <a:custGeom>
              <a:avLst/>
              <a:gdLst>
                <a:gd name="connsiteX0" fmla="*/ 1274718 w 1473728"/>
                <a:gd name="connsiteY0" fmla="*/ 457798 h 1986988"/>
                <a:gd name="connsiteX1" fmla="*/ 481777 w 1473728"/>
                <a:gd name="connsiteY1" fmla="*/ -305 h 1986988"/>
                <a:gd name="connsiteX2" fmla="*/ 394547 w 1473728"/>
                <a:gd name="connsiteY2" fmla="*/ 9991 h 1986988"/>
                <a:gd name="connsiteX3" fmla="*/ -1504 w 1473728"/>
                <a:gd name="connsiteY3" fmla="*/ 405333 h 1986988"/>
                <a:gd name="connsiteX4" fmla="*/ 393404 w 1473728"/>
                <a:gd name="connsiteY4" fmla="*/ 800673 h 1986988"/>
                <a:gd name="connsiteX5" fmla="*/ 590858 w 1473728"/>
                <a:gd name="connsiteY5" fmla="*/ 853633 h 1986988"/>
                <a:gd name="connsiteX6" fmla="*/ 735919 w 1473728"/>
                <a:gd name="connsiteY6" fmla="*/ 1392697 h 1986988"/>
                <a:gd name="connsiteX7" fmla="*/ 735334 w 1473728"/>
                <a:gd name="connsiteY7" fmla="*/ 1788952 h 1986988"/>
                <a:gd name="connsiteX8" fmla="*/ 1258761 w 1473728"/>
                <a:gd name="connsiteY8" fmla="*/ 1942473 h 1986988"/>
                <a:gd name="connsiteX9" fmla="*/ 1274718 w 1473728"/>
                <a:gd name="connsiteY9" fmla="*/ 1933250 h 1986988"/>
                <a:gd name="connsiteX10" fmla="*/ 1422472 w 1473728"/>
                <a:gd name="connsiteY10" fmla="*/ 1399126 h 1986988"/>
                <a:gd name="connsiteX11" fmla="*/ 1418025 w 1473728"/>
                <a:gd name="connsiteY11" fmla="*/ 1391300 h 1986988"/>
                <a:gd name="connsiteX12" fmla="*/ 1419270 w 1473728"/>
                <a:gd name="connsiteY12" fmla="*/ 997934 h 1986988"/>
                <a:gd name="connsiteX13" fmla="*/ 1274718 w 1473728"/>
                <a:gd name="connsiteY13" fmla="*/ 457879 h 198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73728" h="1986988">
                  <a:moveTo>
                    <a:pt x="1274718" y="457798"/>
                  </a:moveTo>
                  <a:lnTo>
                    <a:pt x="481777" y="-305"/>
                  </a:lnTo>
                  <a:cubicBezTo>
                    <a:pt x="453217" y="6284"/>
                    <a:pt x="424022" y="9910"/>
                    <a:pt x="394547" y="9991"/>
                  </a:cubicBezTo>
                  <a:cubicBezTo>
                    <a:pt x="176461" y="9991"/>
                    <a:pt x="-1504" y="186988"/>
                    <a:pt x="-1504" y="405333"/>
                  </a:cubicBezTo>
                  <a:cubicBezTo>
                    <a:pt x="-1504" y="623676"/>
                    <a:pt x="175292" y="800673"/>
                    <a:pt x="393404" y="800673"/>
                  </a:cubicBezTo>
                  <a:cubicBezTo>
                    <a:pt x="460204" y="800757"/>
                    <a:pt x="528834" y="817807"/>
                    <a:pt x="590858" y="853633"/>
                  </a:cubicBezTo>
                  <a:cubicBezTo>
                    <a:pt x="779419" y="962598"/>
                    <a:pt x="844187" y="1203755"/>
                    <a:pt x="735919" y="1392697"/>
                  </a:cubicBezTo>
                  <a:cubicBezTo>
                    <a:pt x="667289" y="1511129"/>
                    <a:pt x="662029" y="1661932"/>
                    <a:pt x="735334" y="1788952"/>
                  </a:cubicBezTo>
                  <a:cubicBezTo>
                    <a:pt x="841290" y="1972685"/>
                    <a:pt x="1072487" y="2039079"/>
                    <a:pt x="1258761" y="1942473"/>
                  </a:cubicBezTo>
                  <a:lnTo>
                    <a:pt x="1274718" y="1933250"/>
                  </a:lnTo>
                  <a:cubicBezTo>
                    <a:pt x="1461628" y="1825185"/>
                    <a:pt x="1526878" y="1587331"/>
                    <a:pt x="1422472" y="1399126"/>
                  </a:cubicBezTo>
                  <a:lnTo>
                    <a:pt x="1418025" y="1391300"/>
                  </a:lnTo>
                  <a:cubicBezTo>
                    <a:pt x="1351555" y="1273427"/>
                    <a:pt x="1346778" y="1123536"/>
                    <a:pt x="1419270" y="997934"/>
                  </a:cubicBezTo>
                  <a:cubicBezTo>
                    <a:pt x="1528276" y="808827"/>
                    <a:pt x="1463610" y="567093"/>
                    <a:pt x="1274718" y="457879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98B9C8-77A8-3058-6E2A-F270B3CB745E}"/>
              </a:ext>
            </a:extLst>
          </p:cNvPr>
          <p:cNvSpPr txBox="1">
            <a:spLocks/>
          </p:cNvSpPr>
          <p:nvPr/>
        </p:nvSpPr>
        <p:spPr>
          <a:xfrm>
            <a:off x="604838" y="1471617"/>
            <a:ext cx="5861276" cy="22763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 spc="-100" baseline="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1" i="0" u="none" strike="noStrike" kern="1200" cap="none" spc="-100" normalizeH="0" baseline="0" noProof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ENTREST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DF44F1-C8D0-95D5-1DFA-5B6BD2BD4D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92014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5" name="Google Shape;1145;g2e9236c09df_0_1090" descr="Logotipo, nombre de la empresa&#10;&#10;Descripción generada automáticament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63843" y="735642"/>
            <a:ext cx="1346530" cy="1507225"/>
          </a:xfrm>
          <a:prstGeom prst="rect">
            <a:avLst/>
          </a:prstGeom>
          <a:noFill/>
          <a:ln>
            <a:noFill/>
          </a:ln>
        </p:spPr>
      </p:pic>
      <p:sp>
        <p:nvSpPr>
          <p:cNvPr id="1147" name="Google Shape;1147;g2e9236c09df_0_1090"/>
          <p:cNvSpPr txBox="1"/>
          <p:nvPr/>
        </p:nvSpPr>
        <p:spPr>
          <a:xfrm>
            <a:off x="1328468" y="-172528"/>
            <a:ext cx="1848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51" name="Google Shape;1151;g2e9236c09df_0_1090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447779" y="2518788"/>
            <a:ext cx="9537198" cy="2685342"/>
          </a:xfrm>
          <a:prstGeom prst="rect">
            <a:avLst/>
          </a:prstGeom>
          <a:noFill/>
          <a:ln>
            <a:noFill/>
          </a:ln>
        </p:spPr>
      </p:pic>
      <p:sp>
        <p:nvSpPr>
          <p:cNvPr id="1161" name="Google Shape;1161;g2e9236c09df_0_1090"/>
          <p:cNvSpPr txBox="1"/>
          <p:nvPr/>
        </p:nvSpPr>
        <p:spPr>
          <a:xfrm>
            <a:off x="487850" y="466607"/>
            <a:ext cx="11217300" cy="43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174E"/>
              </a:buClr>
              <a:buSzPts val="2500"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0174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eople &amp; Structure -    Precision Engagement    -      Business Operation</a:t>
            </a:r>
            <a:endParaRPr kumimoji="0" lang="es-ES" sz="2000" b="0" i="0" u="none" strike="noStrike" kern="0" cap="none" spc="0" normalizeH="0" baseline="0" noProof="0">
              <a:ln>
                <a:noFill/>
              </a:ln>
              <a:solidFill>
                <a:srgbClr val="002068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002068"/>
              </a:solidFill>
              <a:effectLst/>
              <a:uLnTx/>
              <a:uFillTx/>
              <a:latin typeface="Arial Black"/>
              <a:ea typeface="Arial Black"/>
              <a:cs typeface="Arial Black"/>
              <a:sym typeface="Arial Black"/>
            </a:endParaRPr>
          </a:p>
        </p:txBody>
      </p:sp>
      <p:sp>
        <p:nvSpPr>
          <p:cNvPr id="1162" name="Google Shape;1162;g2e9236c09df_0_1090"/>
          <p:cNvSpPr txBox="1">
            <a:spLocks noGrp="1"/>
          </p:cNvSpPr>
          <p:nvPr>
            <p:ph type="title" idx="4294967295"/>
          </p:nvPr>
        </p:nvSpPr>
        <p:spPr>
          <a:xfrm>
            <a:off x="0" y="1454"/>
            <a:ext cx="12192000" cy="43530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2068"/>
              </a:buClr>
              <a:buSzPts val="3000"/>
              <a:buFont typeface="Arial"/>
              <a:buNone/>
            </a:pPr>
            <a:r>
              <a:rPr lang="en-US" sz="2800">
                <a:solidFill>
                  <a:schemeClr val="bg1"/>
                </a:solidFill>
                <a:latin typeface="Arial Black"/>
                <a:ea typeface="Arial Black"/>
                <a:cs typeface="Arial Black"/>
                <a:sym typeface="Arial Black"/>
              </a:rPr>
              <a:t>Maximizing value  through Life Cycle Management</a:t>
            </a:r>
            <a:r>
              <a:rPr lang="en-US" sz="2800">
                <a:solidFill>
                  <a:schemeClr val="bg1"/>
                </a:solidFill>
              </a:rPr>
              <a:t> </a:t>
            </a:r>
            <a:endParaRPr sz="280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D58CA9-65BB-4740-CE48-84012B1EBF1F}"/>
              </a:ext>
            </a:extLst>
          </p:cNvPr>
          <p:cNvSpPr txBox="1"/>
          <p:nvPr/>
        </p:nvSpPr>
        <p:spPr>
          <a:xfrm rot="16200000">
            <a:off x="1778904" y="2392412"/>
            <a:ext cx="2992348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2001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C1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Penetr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4165A78-A1AC-31FE-20F5-9D7C8320F275}"/>
              </a:ext>
            </a:extLst>
          </p:cNvPr>
          <p:cNvSpPr txBox="1"/>
          <p:nvPr/>
        </p:nvSpPr>
        <p:spPr>
          <a:xfrm rot="16200000">
            <a:off x="3163852" y="2392412"/>
            <a:ext cx="2992348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2001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460A9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Growth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87D45D-D057-12B2-7929-51D693E42676}"/>
              </a:ext>
            </a:extLst>
          </p:cNvPr>
          <p:cNvSpPr txBox="1"/>
          <p:nvPr/>
        </p:nvSpPr>
        <p:spPr>
          <a:xfrm rot="16200000">
            <a:off x="4754243" y="2392412"/>
            <a:ext cx="2992348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2001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Maximiz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9993654-AD90-E9F9-8CDE-4AD189A0E695}"/>
              </a:ext>
            </a:extLst>
          </p:cNvPr>
          <p:cNvSpPr txBox="1"/>
          <p:nvPr/>
        </p:nvSpPr>
        <p:spPr>
          <a:xfrm rot="16200000">
            <a:off x="7194884" y="2392412"/>
            <a:ext cx="2992348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2001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A7A8AA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Declin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C4126A79-6EEB-CE28-C820-8C930F5EC0FE}"/>
              </a:ext>
            </a:extLst>
          </p:cNvPr>
          <p:cNvSpPr/>
          <p:nvPr/>
        </p:nvSpPr>
        <p:spPr>
          <a:xfrm>
            <a:off x="1892750" y="1272268"/>
            <a:ext cx="981766" cy="592744"/>
          </a:xfrm>
          <a:custGeom>
            <a:avLst/>
            <a:gdLst>
              <a:gd name="connsiteX0" fmla="*/ 0 w 1681184"/>
              <a:gd name="connsiteY0" fmla="*/ 0 h 2707947"/>
              <a:gd name="connsiteX1" fmla="*/ 1681184 w 1681184"/>
              <a:gd name="connsiteY1" fmla="*/ 0 h 2707947"/>
              <a:gd name="connsiteX2" fmla="*/ 1681184 w 1681184"/>
              <a:gd name="connsiteY2" fmla="*/ 2707947 h 2707947"/>
              <a:gd name="connsiteX3" fmla="*/ 0 w 1681184"/>
              <a:gd name="connsiteY3" fmla="*/ 2707947 h 2707947"/>
              <a:gd name="connsiteX4" fmla="*/ 0 w 1681184"/>
              <a:gd name="connsiteY4" fmla="*/ 0 h 2707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1184" h="2707947">
                <a:moveTo>
                  <a:pt x="0" y="0"/>
                </a:moveTo>
                <a:lnTo>
                  <a:pt x="1681184" y="0"/>
                </a:lnTo>
                <a:lnTo>
                  <a:pt x="1681184" y="2707947"/>
                </a:lnTo>
                <a:lnTo>
                  <a:pt x="0" y="270794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1722" rIns="0" bIns="0" numCol="1" spcCol="1270" anchor="t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Enable </a:t>
            </a:r>
            <a:endParaRPr kumimoji="0" lang="es-ES" sz="105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Healthcare </a:t>
            </a:r>
            <a:endParaRPr kumimoji="0" lang="en-US" sz="1050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/>
            </a:endParaRP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Ecosystem</a:t>
            </a:r>
            <a:endParaRPr kumimoji="0" lang="en-US" sz="1050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/>
              <a:sym typeface="Arial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315AB441-2286-649A-8002-309ECD1A1E72}"/>
              </a:ext>
            </a:extLst>
          </p:cNvPr>
          <p:cNvSpPr/>
          <p:nvPr/>
        </p:nvSpPr>
        <p:spPr>
          <a:xfrm>
            <a:off x="3361040" y="1927307"/>
            <a:ext cx="926961" cy="877088"/>
          </a:xfrm>
          <a:custGeom>
            <a:avLst/>
            <a:gdLst>
              <a:gd name="connsiteX0" fmla="*/ 0 w 1681184"/>
              <a:gd name="connsiteY0" fmla="*/ 0 h 2707947"/>
              <a:gd name="connsiteX1" fmla="*/ 1681184 w 1681184"/>
              <a:gd name="connsiteY1" fmla="*/ 0 h 2707947"/>
              <a:gd name="connsiteX2" fmla="*/ 1681184 w 1681184"/>
              <a:gd name="connsiteY2" fmla="*/ 2707947 h 2707947"/>
              <a:gd name="connsiteX3" fmla="*/ 0 w 1681184"/>
              <a:gd name="connsiteY3" fmla="*/ 2707947 h 2707947"/>
              <a:gd name="connsiteX4" fmla="*/ 0 w 1681184"/>
              <a:gd name="connsiteY4" fmla="*/ 0 h 2707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1184" h="2707947">
                <a:moveTo>
                  <a:pt x="0" y="0"/>
                </a:moveTo>
                <a:lnTo>
                  <a:pt x="1681184" y="0"/>
                </a:lnTo>
                <a:lnTo>
                  <a:pt x="1681184" y="2707947"/>
                </a:lnTo>
                <a:lnTo>
                  <a:pt x="0" y="270794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1722" rIns="0" bIns="0" numCol="1" spcCol="1270" anchor="t" anchorCtr="0">
            <a:noAutofit/>
          </a:bodyPr>
          <a:lstStyle/>
          <a:p>
            <a:pPr marL="0" marR="0" lvl="0" indent="0" algn="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C1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13297DA-0240-441A-7F30-879B496F190C}"/>
              </a:ext>
            </a:extLst>
          </p:cNvPr>
          <p:cNvSpPr txBox="1"/>
          <p:nvPr/>
        </p:nvSpPr>
        <p:spPr>
          <a:xfrm>
            <a:off x="3422684" y="1272268"/>
            <a:ext cx="944828" cy="669414"/>
          </a:xfrm>
          <a:prstGeom prst="rect">
            <a:avLst/>
          </a:prstGeom>
          <a:solidFill>
            <a:schemeClr val="tx2"/>
          </a:solidFill>
        </p:spPr>
        <p:txBody>
          <a:bodyPr wrap="square" lIns="91440" tIns="45720" rIns="91440" bIns="45720" anchor="t">
            <a:spAutoFit/>
          </a:bodyPr>
          <a:lstStyle/>
          <a:p>
            <a:pPr marL="0" marR="0" lvl="1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Full</a:t>
            </a:r>
            <a:endParaRPr kumimoji="0" lang="es-ES" sz="10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1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accessibility in both channel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D107B37-05EB-634A-0B19-7EF7848C08B6}"/>
              </a:ext>
            </a:extLst>
          </p:cNvPr>
          <p:cNvSpPr/>
          <p:nvPr/>
        </p:nvSpPr>
        <p:spPr>
          <a:xfrm>
            <a:off x="4832091" y="1676119"/>
            <a:ext cx="1036696" cy="386455"/>
          </a:xfrm>
          <a:custGeom>
            <a:avLst/>
            <a:gdLst>
              <a:gd name="connsiteX0" fmla="*/ 0 w 1681184"/>
              <a:gd name="connsiteY0" fmla="*/ 0 h 2707947"/>
              <a:gd name="connsiteX1" fmla="*/ 1681184 w 1681184"/>
              <a:gd name="connsiteY1" fmla="*/ 0 h 2707947"/>
              <a:gd name="connsiteX2" fmla="*/ 1681184 w 1681184"/>
              <a:gd name="connsiteY2" fmla="*/ 2707947 h 2707947"/>
              <a:gd name="connsiteX3" fmla="*/ 0 w 1681184"/>
              <a:gd name="connsiteY3" fmla="*/ 2707947 h 2707947"/>
              <a:gd name="connsiteX4" fmla="*/ 0 w 1681184"/>
              <a:gd name="connsiteY4" fmla="*/ 0 h 2707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1184" h="2707947">
                <a:moveTo>
                  <a:pt x="0" y="0"/>
                </a:moveTo>
                <a:lnTo>
                  <a:pt x="1681184" y="0"/>
                </a:lnTo>
                <a:lnTo>
                  <a:pt x="1681184" y="2707947"/>
                </a:lnTo>
                <a:lnTo>
                  <a:pt x="0" y="270794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1722" rIns="0" bIns="0" numCol="1" spcCol="1270" anchor="t" anchorCtr="0">
            <a:noAutofit/>
          </a:bodyPr>
          <a:lstStyle/>
          <a:p>
            <a:pPr marL="171450" marR="0" lvl="1" indent="-17145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000000"/>
              </a:buClr>
              <a:buSzTx/>
              <a:buFont typeface="Wingdings"/>
              <a:buChar char="Ø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460A9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80%  peak sales </a:t>
            </a:r>
            <a:endParaRPr kumimoji="0" lang="es-ES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E6EE0C0-2E4E-95D5-F55A-B07E2DAEB8F9}"/>
              </a:ext>
            </a:extLst>
          </p:cNvPr>
          <p:cNvSpPr txBox="1"/>
          <p:nvPr/>
        </p:nvSpPr>
        <p:spPr>
          <a:xfrm>
            <a:off x="4849588" y="1272268"/>
            <a:ext cx="1062154" cy="397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1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Accelerate growth </a:t>
            </a: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 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7A5C13E6-C597-0551-618C-8E6A04399423}"/>
              </a:ext>
            </a:extLst>
          </p:cNvPr>
          <p:cNvSpPr/>
          <p:nvPr/>
        </p:nvSpPr>
        <p:spPr>
          <a:xfrm>
            <a:off x="6685596" y="1272268"/>
            <a:ext cx="1362774" cy="594955"/>
          </a:xfrm>
          <a:custGeom>
            <a:avLst/>
            <a:gdLst>
              <a:gd name="connsiteX0" fmla="*/ 0 w 1681184"/>
              <a:gd name="connsiteY0" fmla="*/ 0 h 2707947"/>
              <a:gd name="connsiteX1" fmla="*/ 1681184 w 1681184"/>
              <a:gd name="connsiteY1" fmla="*/ 0 h 2707947"/>
              <a:gd name="connsiteX2" fmla="*/ 1681184 w 1681184"/>
              <a:gd name="connsiteY2" fmla="*/ 2707947 h 2707947"/>
              <a:gd name="connsiteX3" fmla="*/ 0 w 1681184"/>
              <a:gd name="connsiteY3" fmla="*/ 2707947 h 2707947"/>
              <a:gd name="connsiteX4" fmla="*/ 0 w 1681184"/>
              <a:gd name="connsiteY4" fmla="*/ 0 h 2707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1184" h="2707947">
                <a:moveTo>
                  <a:pt x="0" y="0"/>
                </a:moveTo>
                <a:lnTo>
                  <a:pt x="1681184" y="0"/>
                </a:lnTo>
                <a:lnTo>
                  <a:pt x="1681184" y="2707947"/>
                </a:lnTo>
                <a:lnTo>
                  <a:pt x="0" y="2707947"/>
                </a:lnTo>
                <a:lnTo>
                  <a:pt x="0" y="0"/>
                </a:lnTo>
                <a:close/>
              </a:path>
            </a:pathLst>
          </a:custGeom>
          <a:solidFill>
            <a:srgbClr val="FF9F9F"/>
          </a:solidFill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1722" rIns="0" bIns="0" numCol="1" spcCol="1270" anchor="t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1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Capitalize brand equity through innovation  </a:t>
            </a:r>
            <a:endParaRPr kumimoji="0" lang="es-ES" sz="105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B12E416-403D-0E22-F82B-DB0238623499}"/>
              </a:ext>
            </a:extLst>
          </p:cNvPr>
          <p:cNvSpPr/>
          <p:nvPr/>
        </p:nvSpPr>
        <p:spPr>
          <a:xfrm>
            <a:off x="9156988" y="1272268"/>
            <a:ext cx="1375837" cy="428371"/>
          </a:xfrm>
          <a:custGeom>
            <a:avLst/>
            <a:gdLst>
              <a:gd name="connsiteX0" fmla="*/ 0 w 1681184"/>
              <a:gd name="connsiteY0" fmla="*/ 0 h 2707947"/>
              <a:gd name="connsiteX1" fmla="*/ 1681184 w 1681184"/>
              <a:gd name="connsiteY1" fmla="*/ 0 h 2707947"/>
              <a:gd name="connsiteX2" fmla="*/ 1681184 w 1681184"/>
              <a:gd name="connsiteY2" fmla="*/ 2707947 h 2707947"/>
              <a:gd name="connsiteX3" fmla="*/ 0 w 1681184"/>
              <a:gd name="connsiteY3" fmla="*/ 2707947 h 2707947"/>
              <a:gd name="connsiteX4" fmla="*/ 0 w 1681184"/>
              <a:gd name="connsiteY4" fmla="*/ 0 h 2707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1184" h="2707947">
                <a:moveTo>
                  <a:pt x="0" y="0"/>
                </a:moveTo>
                <a:lnTo>
                  <a:pt x="1681184" y="0"/>
                </a:lnTo>
                <a:lnTo>
                  <a:pt x="1681184" y="2707947"/>
                </a:lnTo>
                <a:lnTo>
                  <a:pt x="0" y="270794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1722" rIns="0" bIns="0" numCol="1" spcCol="1270" anchor="t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queeze remaining</a:t>
            </a: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 value</a:t>
            </a:r>
            <a:r>
              <a:rPr kumimoji="0" lang="en-US" sz="105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 w/o investment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50" b="1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pic>
        <p:nvPicPr>
          <p:cNvPr id="28" name="Picture 27" descr="A blue text on a white background&#10;&#10;Description automatically generated">
            <a:extLst>
              <a:ext uri="{FF2B5EF4-FFF2-40B4-BE49-F238E27FC236}">
                <a16:creationId xmlns:a16="http://schemas.microsoft.com/office/drawing/2014/main" id="{062B3C48-D163-2111-F6F6-C7665425CE2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16390" y="3786359"/>
            <a:ext cx="1461687" cy="60597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C6FAC3B9-D084-8EC0-EB9B-9A574656CA0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53101" y="5332143"/>
            <a:ext cx="1307601" cy="43866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67E5F677-CF2C-BFFC-AD59-C500FD1467B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49345" y="4368135"/>
            <a:ext cx="925909" cy="429887"/>
          </a:xfrm>
          <a:prstGeom prst="rect">
            <a:avLst/>
          </a:prstGeom>
        </p:spPr>
      </p:pic>
      <p:pic>
        <p:nvPicPr>
          <p:cNvPr id="32" name="Picture 31" descr="A close-up of a logo&#10;&#10;Description automatically generated">
            <a:extLst>
              <a:ext uri="{FF2B5EF4-FFF2-40B4-BE49-F238E27FC236}">
                <a16:creationId xmlns:a16="http://schemas.microsoft.com/office/drawing/2014/main" id="{3EFA207E-053B-5489-94D3-68E8B37B962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35940" y="4747719"/>
            <a:ext cx="1008618" cy="38037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E8FCB90E-F20C-C95B-A0CE-A4EEB4E03E8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28381" y="5083840"/>
            <a:ext cx="974187" cy="30164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E62C36C2-9092-3684-523B-B9CB3C54F02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419296" y="6034310"/>
            <a:ext cx="952220" cy="432360"/>
          </a:xfrm>
          <a:prstGeom prst="rect">
            <a:avLst/>
          </a:prstGeom>
        </p:spPr>
      </p:pic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DCAD2A3-46B1-E229-0BE9-BB787362C6DB}"/>
              </a:ext>
            </a:extLst>
          </p:cNvPr>
          <p:cNvCxnSpPr>
            <a:cxnSpLocks/>
          </p:cNvCxnSpPr>
          <p:nvPr/>
        </p:nvCxnSpPr>
        <p:spPr>
          <a:xfrm>
            <a:off x="2978770" y="4700409"/>
            <a:ext cx="801832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714FF3B5-DBC7-FABD-2E6B-5FBFB21ED7E3}"/>
              </a:ext>
            </a:extLst>
          </p:cNvPr>
          <p:cNvCxnSpPr>
            <a:cxnSpLocks/>
          </p:cNvCxnSpPr>
          <p:nvPr/>
        </p:nvCxnSpPr>
        <p:spPr>
          <a:xfrm flipH="1" flipV="1">
            <a:off x="2978770" y="901907"/>
            <a:ext cx="29112" cy="380706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8302443A-3A1E-E67B-E7A0-EB4810B32CE7}"/>
              </a:ext>
            </a:extLst>
          </p:cNvPr>
          <p:cNvSpPr txBox="1"/>
          <p:nvPr/>
        </p:nvSpPr>
        <p:spPr>
          <a:xfrm rot="16200000">
            <a:off x="497900" y="1936974"/>
            <a:ext cx="2081473" cy="4801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r" defTabSz="12001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50E2D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Pre-launch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50E2D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17CD2E5-F025-C7F0-3137-65A069B86B92}"/>
              </a:ext>
            </a:extLst>
          </p:cNvPr>
          <p:cNvCxnSpPr>
            <a:cxnSpLocks/>
          </p:cNvCxnSpPr>
          <p:nvPr/>
        </p:nvCxnSpPr>
        <p:spPr>
          <a:xfrm>
            <a:off x="2917128" y="1069529"/>
            <a:ext cx="51368" cy="5110385"/>
          </a:xfrm>
          <a:prstGeom prst="line">
            <a:avLst/>
          </a:prstGeom>
          <a:ln w="19050">
            <a:solidFill>
              <a:schemeClr val="accent3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3A514BF-0018-E35B-99FB-B39A93496828}"/>
              </a:ext>
            </a:extLst>
          </p:cNvPr>
          <p:cNvCxnSpPr>
            <a:cxnSpLocks/>
          </p:cNvCxnSpPr>
          <p:nvPr/>
        </p:nvCxnSpPr>
        <p:spPr>
          <a:xfrm>
            <a:off x="4416320" y="1069529"/>
            <a:ext cx="19668" cy="5110385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669E7D4-89CB-6E94-A451-DCCF114A97C6}"/>
              </a:ext>
            </a:extLst>
          </p:cNvPr>
          <p:cNvCxnSpPr>
            <a:cxnSpLocks/>
          </p:cNvCxnSpPr>
          <p:nvPr/>
        </p:nvCxnSpPr>
        <p:spPr>
          <a:xfrm>
            <a:off x="5954854" y="1069529"/>
            <a:ext cx="16392" cy="5110385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CE0A408-C7A1-B5E9-397D-D85DB8583722}"/>
              </a:ext>
            </a:extLst>
          </p:cNvPr>
          <p:cNvCxnSpPr>
            <a:cxnSpLocks/>
          </p:cNvCxnSpPr>
          <p:nvPr/>
        </p:nvCxnSpPr>
        <p:spPr>
          <a:xfrm>
            <a:off x="8326472" y="1069529"/>
            <a:ext cx="51368" cy="5110385"/>
          </a:xfrm>
          <a:prstGeom prst="line">
            <a:avLst/>
          </a:prstGeom>
          <a:ln w="19050">
            <a:solidFill>
              <a:schemeClr val="accent4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323DAFAE-1D6C-D109-F181-07816848C270}"/>
              </a:ext>
            </a:extLst>
          </p:cNvPr>
          <p:cNvSpPr txBox="1"/>
          <p:nvPr/>
        </p:nvSpPr>
        <p:spPr>
          <a:xfrm>
            <a:off x="3360471" y="3953139"/>
            <a:ext cx="3489817" cy="261610"/>
          </a:xfrm>
          <a:prstGeom prst="rect">
            <a:avLst/>
          </a:prstGeom>
          <a:gradFill flip="none" rotWithShape="1">
            <a:gsLst>
              <a:gs pos="56350">
                <a:srgbClr val="D9C5D6"/>
              </a:gs>
              <a:gs pos="25000">
                <a:schemeClr val="accent6">
                  <a:lumMod val="20000"/>
                  <a:lumOff val="80000"/>
                </a:schemeClr>
              </a:gs>
              <a:gs pos="100000">
                <a:srgbClr val="FF9F9F"/>
              </a:gs>
            </a:gsLst>
            <a:lin ang="0" scaled="1"/>
            <a:tileRect/>
          </a:gra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Doubling the value of our core brands 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2A47036A-4331-2CC3-2500-067F3FB9905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24344" y="5682412"/>
            <a:ext cx="1126026" cy="400076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48B9A2AA-AB41-D86D-F198-55EDBDDB9F1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69689" y="6063710"/>
            <a:ext cx="1049158" cy="381663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34A09C50-1561-5E62-2B61-AC2F8DD4C14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965862" y="5233478"/>
            <a:ext cx="1250620" cy="45741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A22F3763-CEAF-56EA-B4B7-822A6CEF093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79484" y="4716199"/>
            <a:ext cx="1233274" cy="446362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FA5C111F-7AF8-F9F8-DDB1-9DEBAE1DAE9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28779" y="5345008"/>
            <a:ext cx="1112895" cy="353479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B8550669-16BC-1EA8-9339-E5564BCDCE0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15404" y="5812393"/>
            <a:ext cx="854933" cy="38394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5CF95A7-5F99-419D-994E-0DDF01B1D01F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411656" y="4785344"/>
            <a:ext cx="729832" cy="374503"/>
          </a:xfrm>
          <a:prstGeom prst="rect">
            <a:avLst/>
          </a:prstGeom>
        </p:spPr>
      </p:pic>
      <p:pic>
        <p:nvPicPr>
          <p:cNvPr id="2" name="Picture 2" descr="ZOLGENSMA® (onasemnogene abeparvovec-xioi) | HCP">
            <a:extLst>
              <a:ext uri="{FF2B5EF4-FFF2-40B4-BE49-F238E27FC236}">
                <a16:creationId xmlns:a16="http://schemas.microsoft.com/office/drawing/2014/main" id="{B4A611D2-04DA-C36F-D994-25372487DB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716"/>
          <a:stretch/>
        </p:blipFill>
        <p:spPr bwMode="auto">
          <a:xfrm>
            <a:off x="3035129" y="5699892"/>
            <a:ext cx="1117057" cy="283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n 3" descr="Leitfaden für Patienten mit ITP">
            <a:extLst>
              <a:ext uri="{FF2B5EF4-FFF2-40B4-BE49-F238E27FC236}">
                <a16:creationId xmlns:a16="http://schemas.microsoft.com/office/drawing/2014/main" id="{21EF7471-F520-1044-7288-894DCF90F44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BEBA8EAE-BF5A-486C-A8C5-ECC9F3942E4B}">
                <a14:imgProps xmlns:a14="http://schemas.microsoft.com/office/drawing/2010/main">
                  <a14:imgLayer r:embed="rId27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27332" y="5258362"/>
            <a:ext cx="1033584" cy="383236"/>
          </a:xfrm>
          <a:prstGeom prst="rect">
            <a:avLst/>
          </a:prstGeom>
        </p:spPr>
      </p:pic>
      <p:sp>
        <p:nvSpPr>
          <p:cNvPr id="5" name="Rectangle 26">
            <a:extLst>
              <a:ext uri="{FF2B5EF4-FFF2-40B4-BE49-F238E27FC236}">
                <a16:creationId xmlns:a16="http://schemas.microsoft.com/office/drawing/2014/main" id="{F75E846F-AEC8-4924-1F87-2B07C8736909}"/>
              </a:ext>
            </a:extLst>
          </p:cNvPr>
          <p:cNvSpPr/>
          <p:nvPr/>
        </p:nvSpPr>
        <p:spPr>
          <a:xfrm>
            <a:off x="6848588" y="3949738"/>
            <a:ext cx="2410887" cy="276999"/>
          </a:xfrm>
          <a:prstGeom prst="rect">
            <a:avLst/>
          </a:prstGeom>
          <a:solidFill>
            <a:schemeClr val="accent5">
              <a:lumMod val="90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usiness</a:t>
            </a: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Innovation</a:t>
            </a: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Freeform: Shape 19">
            <a:extLst>
              <a:ext uri="{FF2B5EF4-FFF2-40B4-BE49-F238E27FC236}">
                <a16:creationId xmlns:a16="http://schemas.microsoft.com/office/drawing/2014/main" id="{54863419-2290-F308-6B4D-1729E56F9A6D}"/>
              </a:ext>
            </a:extLst>
          </p:cNvPr>
          <p:cNvSpPr/>
          <p:nvPr/>
        </p:nvSpPr>
        <p:spPr>
          <a:xfrm>
            <a:off x="6883629" y="1871504"/>
            <a:ext cx="1036696" cy="386455"/>
          </a:xfrm>
          <a:custGeom>
            <a:avLst/>
            <a:gdLst>
              <a:gd name="connsiteX0" fmla="*/ 0 w 1681184"/>
              <a:gd name="connsiteY0" fmla="*/ 0 h 2707947"/>
              <a:gd name="connsiteX1" fmla="*/ 1681184 w 1681184"/>
              <a:gd name="connsiteY1" fmla="*/ 0 h 2707947"/>
              <a:gd name="connsiteX2" fmla="*/ 1681184 w 1681184"/>
              <a:gd name="connsiteY2" fmla="*/ 2707947 h 2707947"/>
              <a:gd name="connsiteX3" fmla="*/ 0 w 1681184"/>
              <a:gd name="connsiteY3" fmla="*/ 2707947 h 2707947"/>
              <a:gd name="connsiteX4" fmla="*/ 0 w 1681184"/>
              <a:gd name="connsiteY4" fmla="*/ 0 h 2707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1184" h="2707947">
                <a:moveTo>
                  <a:pt x="0" y="0"/>
                </a:moveTo>
                <a:lnTo>
                  <a:pt x="1681184" y="0"/>
                </a:lnTo>
                <a:lnTo>
                  <a:pt x="1681184" y="2707947"/>
                </a:lnTo>
                <a:lnTo>
                  <a:pt x="0" y="270794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1722" rIns="0" bIns="0" numCol="1" spcCol="1270" anchor="t" anchorCtr="0">
            <a:noAutofit/>
          </a:bodyPr>
          <a:lstStyle/>
          <a:p>
            <a:pPr marL="171450" marR="0" lvl="1" indent="-17145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000000"/>
              </a:buClr>
              <a:buSzTx/>
              <a:buFont typeface="Wingdings"/>
              <a:buChar char="Ø"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9F9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Until mkt deceleration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9F9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" name="Freeform: Shape 19">
            <a:extLst>
              <a:ext uri="{FF2B5EF4-FFF2-40B4-BE49-F238E27FC236}">
                <a16:creationId xmlns:a16="http://schemas.microsoft.com/office/drawing/2014/main" id="{47F24A19-411C-522C-8466-F32F94FC3D44}"/>
              </a:ext>
            </a:extLst>
          </p:cNvPr>
          <p:cNvSpPr/>
          <p:nvPr/>
        </p:nvSpPr>
        <p:spPr>
          <a:xfrm>
            <a:off x="3308090" y="1988733"/>
            <a:ext cx="1036696" cy="386455"/>
          </a:xfrm>
          <a:custGeom>
            <a:avLst/>
            <a:gdLst>
              <a:gd name="connsiteX0" fmla="*/ 0 w 1681184"/>
              <a:gd name="connsiteY0" fmla="*/ 0 h 2707947"/>
              <a:gd name="connsiteX1" fmla="*/ 1681184 w 1681184"/>
              <a:gd name="connsiteY1" fmla="*/ 0 h 2707947"/>
              <a:gd name="connsiteX2" fmla="*/ 1681184 w 1681184"/>
              <a:gd name="connsiteY2" fmla="*/ 2707947 h 2707947"/>
              <a:gd name="connsiteX3" fmla="*/ 0 w 1681184"/>
              <a:gd name="connsiteY3" fmla="*/ 2707947 h 2707947"/>
              <a:gd name="connsiteX4" fmla="*/ 0 w 1681184"/>
              <a:gd name="connsiteY4" fmla="*/ 0 h 2707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81184" h="2707947">
                <a:moveTo>
                  <a:pt x="0" y="0"/>
                </a:moveTo>
                <a:lnTo>
                  <a:pt x="1681184" y="0"/>
                </a:lnTo>
                <a:lnTo>
                  <a:pt x="1681184" y="2707947"/>
                </a:lnTo>
                <a:lnTo>
                  <a:pt x="0" y="270794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1722" rIns="0" bIns="0" numCol="1" spcCol="1270" anchor="t" anchorCtr="0">
            <a:noAutofit/>
          </a:bodyPr>
          <a:lstStyle/>
          <a:p>
            <a:pPr marL="171450" marR="0" lvl="1" indent="-17145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000000"/>
              </a:buClr>
              <a:buSzTx/>
              <a:buFont typeface="Wingdings"/>
              <a:buChar char="Ø"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C1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Active in tendering processes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C1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2C8EA1CC-7B13-DB5F-9259-890319257877}"/>
              </a:ext>
            </a:extLst>
          </p:cNvPr>
          <p:cNvSpPr/>
          <p:nvPr/>
        </p:nvSpPr>
        <p:spPr>
          <a:xfrm>
            <a:off x="8559437" y="5205862"/>
            <a:ext cx="1201615" cy="293078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0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D&amp;L portfolio</a:t>
            </a:r>
            <a:endParaRPr kumimoji="0" lang="es-ES" sz="105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2" name="Rectángulo: esquinas redondeadas 11">
            <a:extLst>
              <a:ext uri="{FF2B5EF4-FFF2-40B4-BE49-F238E27FC236}">
                <a16:creationId xmlns:a16="http://schemas.microsoft.com/office/drawing/2014/main" id="{8AF11210-B1E1-D2AB-5804-6698F3C019CC}"/>
              </a:ext>
            </a:extLst>
          </p:cNvPr>
          <p:cNvSpPr/>
          <p:nvPr/>
        </p:nvSpPr>
        <p:spPr>
          <a:xfrm>
            <a:off x="9399589" y="5635708"/>
            <a:ext cx="1201615" cy="293078"/>
          </a:xfrm>
          <a:prstGeom prst="round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05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RoP</a:t>
            </a:r>
            <a:endParaRPr kumimoji="0" lang="es-ES" sz="1050" b="1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4" name="Rectángulo: esquinas redondeadas 13">
            <a:extLst>
              <a:ext uri="{FF2B5EF4-FFF2-40B4-BE49-F238E27FC236}">
                <a16:creationId xmlns:a16="http://schemas.microsoft.com/office/drawing/2014/main" id="{44A68691-672F-F1C9-D35B-9C6AA3CBEA9E}"/>
              </a:ext>
            </a:extLst>
          </p:cNvPr>
          <p:cNvSpPr/>
          <p:nvPr/>
        </p:nvSpPr>
        <p:spPr>
          <a:xfrm>
            <a:off x="69974" y="4424323"/>
            <a:ext cx="1035539" cy="293078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05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Remibrutinib</a:t>
            </a:r>
            <a:endParaRPr kumimoji="0" lang="es-ES" sz="1050" b="1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8" name="Rectángulo: esquinas redondeadas 17">
            <a:extLst>
              <a:ext uri="{FF2B5EF4-FFF2-40B4-BE49-F238E27FC236}">
                <a16:creationId xmlns:a16="http://schemas.microsoft.com/office/drawing/2014/main" id="{BBF0A746-A0AA-C3DA-20D1-988684ED1B0C}"/>
              </a:ext>
            </a:extLst>
          </p:cNvPr>
          <p:cNvSpPr/>
          <p:nvPr/>
        </p:nvSpPr>
        <p:spPr>
          <a:xfrm>
            <a:off x="69974" y="4776015"/>
            <a:ext cx="1035539" cy="293078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105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elacarsen</a:t>
            </a:r>
            <a:endParaRPr kumimoji="0" lang="es-ES" sz="14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C705F9F-22CD-43BC-698D-D8BAE90364B2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464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11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1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1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61" grpId="0"/>
      <p:bldP spid="1162" grpId="0" animBg="1"/>
      <p:bldP spid="16" grpId="0" animBg="1"/>
      <p:bldP spid="19" grpId="0" animBg="1"/>
      <p:bldP spid="20" grpId="0"/>
      <p:bldP spid="22" grpId="0" animBg="1"/>
      <p:bldP spid="23" grpId="0" animBg="1"/>
      <p:bldP spid="24" grpId="0" animBg="1"/>
      <p:bldP spid="26" grpId="0" animBg="1"/>
      <p:bldP spid="5" grpId="0" animBg="1"/>
      <p:bldP spid="6" grpId="0"/>
      <p:bldP spid="7" grpId="0"/>
      <p:bldP spid="8" grpId="0" animBg="1"/>
      <p:bldP spid="12" grpId="0" animBg="1"/>
      <p:bldP spid="14" grpId="0" animBg="1"/>
      <p:bldP spid="18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CB9E1FAE-AE79-A8A9-3ACC-8D35117EF3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9E1FAE-AE79-A8A9-3ACC-8D35117EF3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8C6AD3C6-5432-5F05-2D52-D055DEBFB3D6}"/>
              </a:ext>
            </a:extLst>
          </p:cNvPr>
          <p:cNvSpPr txBox="1">
            <a:spLocks/>
          </p:cNvSpPr>
          <p:nvPr/>
        </p:nvSpPr>
        <p:spPr>
          <a:xfrm>
            <a:off x="542621" y="205495"/>
            <a:ext cx="11512326" cy="5551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ENTRESTO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>
                <a:solidFill>
                  <a:srgbClr val="002060"/>
                </a:solidFill>
                <a:latin typeface="Arial" panose="020B0604020202020204"/>
              </a:rPr>
              <a:t>S</a:t>
            </a: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AGE: Maximize</a:t>
            </a:r>
            <a:b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</a:br>
            <a:endParaRPr kumimoji="0" lang="en-IN" sz="30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DDE9F6F-9EC9-F8EA-2F18-EC17D0750D21}"/>
              </a:ext>
            </a:extLst>
          </p:cNvPr>
          <p:cNvGrpSpPr/>
          <p:nvPr/>
        </p:nvGrpSpPr>
        <p:grpSpPr>
          <a:xfrm>
            <a:off x="435736" y="1014119"/>
            <a:ext cx="11516974" cy="836137"/>
            <a:chOff x="435736" y="1014119"/>
            <a:chExt cx="11516974" cy="83613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2ED35AB-C20F-51B7-9D9A-CE63170D41A2}"/>
                </a:ext>
              </a:extLst>
            </p:cNvPr>
            <p:cNvSpPr/>
            <p:nvPr/>
          </p:nvSpPr>
          <p:spPr>
            <a:xfrm>
              <a:off x="440384" y="1028375"/>
              <a:ext cx="11512326" cy="406537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6" name="Graphic 5" descr="User with solid fill">
              <a:extLst>
                <a:ext uri="{FF2B5EF4-FFF2-40B4-BE49-F238E27FC236}">
                  <a16:creationId xmlns:a16="http://schemas.microsoft.com/office/drawing/2014/main" id="{B84637A5-1E36-7200-7BD7-20C395045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060806" y="1014600"/>
              <a:ext cx="349338" cy="394250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471B69C-1A3B-DF82-4D2E-10AC035B429B}"/>
                </a:ext>
              </a:extLst>
            </p:cNvPr>
            <p:cNvSpPr/>
            <p:nvPr/>
          </p:nvSpPr>
          <p:spPr>
            <a:xfrm>
              <a:off x="4963035" y="1087934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rofile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7CA2DF2-FD51-013F-574D-674488387085}"/>
                </a:ext>
              </a:extLst>
            </p:cNvPr>
            <p:cNvSpPr txBox="1"/>
            <p:nvPr/>
          </p:nvSpPr>
          <p:spPr>
            <a:xfrm>
              <a:off x="2162875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4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7534481-1F4E-AA3E-BBFE-0973DD405E58}"/>
                </a:ext>
              </a:extLst>
            </p:cNvPr>
            <p:cNvSpPr txBox="1"/>
            <p:nvPr/>
          </p:nvSpPr>
          <p:spPr>
            <a:xfrm>
              <a:off x="9134451" y="1480924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5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D71E898-1AC4-34CE-F671-6E2C4DAE331E}"/>
                </a:ext>
              </a:extLst>
            </p:cNvPr>
            <p:cNvSpPr txBox="1"/>
            <p:nvPr/>
          </p:nvSpPr>
          <p:spPr>
            <a:xfrm>
              <a:off x="5433269" y="1480924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1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1F7F27A-2DBA-5163-F42B-2D812F30B7CA}"/>
                </a:ext>
              </a:extLst>
            </p:cNvPr>
            <p:cNvSpPr/>
            <p:nvPr/>
          </p:nvSpPr>
          <p:spPr>
            <a:xfrm>
              <a:off x="6946486" y="1024394"/>
              <a:ext cx="5006223" cy="406538"/>
            </a:xfrm>
            <a:prstGeom prst="rect">
              <a:avLst/>
            </a:prstGeom>
            <a:solidFill>
              <a:srgbClr val="022A4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           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Adoption</a:t>
              </a:r>
            </a:p>
          </p:txBody>
        </p:sp>
        <p:pic>
          <p:nvPicPr>
            <p:cNvPr id="8" name="Graphic 7" descr="First aid kit with solid fill">
              <a:extLst>
                <a:ext uri="{FF2B5EF4-FFF2-40B4-BE49-F238E27FC236}">
                  <a16:creationId xmlns:a16="http://schemas.microsoft.com/office/drawing/2014/main" id="{2AAB5AAE-2106-8373-9957-9C9F97D39AD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263337" y="1019054"/>
              <a:ext cx="312298" cy="358409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03EE3BB-CBA7-20CD-BDED-55598BC6AD39}"/>
                </a:ext>
              </a:extLst>
            </p:cNvPr>
            <p:cNvSpPr/>
            <p:nvPr/>
          </p:nvSpPr>
          <p:spPr>
            <a:xfrm>
              <a:off x="435736" y="1025080"/>
              <a:ext cx="4203500" cy="41523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innerShdw blurRad="63500" dist="508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5" name="Graphic 4" descr="Mountains with solid fill">
              <a:extLst>
                <a:ext uri="{FF2B5EF4-FFF2-40B4-BE49-F238E27FC236}">
                  <a16:creationId xmlns:a16="http://schemas.microsoft.com/office/drawing/2014/main" id="{A42203DA-2A66-CA4C-8CF9-94EDC6AD0FD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021797" y="1014119"/>
              <a:ext cx="341338" cy="394252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CD26741-C770-2F61-49B0-628D94E15223}"/>
                </a:ext>
              </a:extLst>
            </p:cNvPr>
            <p:cNvSpPr/>
            <p:nvPr/>
          </p:nvSpPr>
          <p:spPr>
            <a:xfrm>
              <a:off x="1988866" y="1080651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otential</a:t>
              </a:r>
            </a:p>
          </p:txBody>
        </p:sp>
      </p:grp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1938BD33-49DE-A7DB-A859-906CC0BAEF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36477"/>
              </p:ext>
            </p:extLst>
          </p:nvPr>
        </p:nvGraphicFramePr>
        <p:xfrm>
          <a:off x="1590602" y="2080375"/>
          <a:ext cx="2111521" cy="1854667"/>
        </p:xfrm>
        <a:graphic>
          <a:graphicData uri="http://schemas.openxmlformats.org/drawingml/2006/table">
            <a:tbl>
              <a:tblPr/>
              <a:tblGrid>
                <a:gridCol w="1239763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871758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Market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r>
                        <a:rPr lang="es-MX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AS</a:t>
                      </a:r>
                    </a:p>
                    <a:p>
                      <a:r>
                        <a:rPr lang="es-MX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ECAS</a:t>
                      </a:r>
                    </a:p>
                    <a:p>
                      <a:r>
                        <a:rPr lang="es-MX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GLT2</a:t>
                      </a:r>
                    </a:p>
                    <a:p>
                      <a:r>
                        <a:rPr lang="es-MX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VABRADINE</a:t>
                      </a:r>
                    </a:p>
                    <a:p>
                      <a:r>
                        <a:rPr lang="es-MX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TRESTO</a:t>
                      </a:r>
                    </a:p>
                    <a:p>
                      <a:r>
                        <a:rPr lang="es-MX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PARVIS</a:t>
                      </a:r>
                    </a:p>
                    <a:p>
                      <a:pPr algn="ctr" fontAlgn="ctr"/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f</a:t>
                      </a:r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escriptions</a:t>
                      </a:r>
                      <a:endParaRPr lang="es-MX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AE0BC4B5-E99B-8968-189E-0DEA73C20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2172852"/>
              </p:ext>
            </p:extLst>
          </p:nvPr>
        </p:nvGraphicFramePr>
        <p:xfrm>
          <a:off x="4991916" y="2080375"/>
          <a:ext cx="1769638" cy="2535985"/>
        </p:xfrm>
        <a:graphic>
          <a:graphicData uri="http://schemas.openxmlformats.org/drawingml/2006/table">
            <a:tbl>
              <a:tblPr/>
              <a:tblGrid>
                <a:gridCol w="1115642">
                  <a:extLst>
                    <a:ext uri="{9D8B030D-6E8A-4147-A177-3AD203B41FA5}">
                      <a16:colId xmlns:a16="http://schemas.microsoft.com/office/drawing/2014/main" val="2321963324"/>
                    </a:ext>
                  </a:extLst>
                </a:gridCol>
                <a:gridCol w="653996">
                  <a:extLst>
                    <a:ext uri="{9D8B030D-6E8A-4147-A177-3AD203B41FA5}">
                      <a16:colId xmlns:a16="http://schemas.microsoft.com/office/drawing/2014/main" val="3973014528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Profil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3006088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Cardio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388667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Internal Medicin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6601028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Nefro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ova Cond" panose="020B0506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870216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GPs &amp; Oth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5069074"/>
                  </a:ext>
                </a:extLst>
              </a:tr>
            </a:tbl>
          </a:graphicData>
        </a:graphic>
      </p:graphicFrame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FA7CF23F-E99C-4A58-C731-80DC1880DF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3000601"/>
              </p:ext>
            </p:extLst>
          </p:nvPr>
        </p:nvGraphicFramePr>
        <p:xfrm>
          <a:off x="7630875" y="2080375"/>
          <a:ext cx="3637443" cy="3008502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4725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Y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75%-10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ANS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50%-75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25%-5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%-25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654914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 PRESCRIBE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153025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FC9B2B0A-F1A2-1AEC-51F7-385AA4E3E31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68173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8">
            <a:extLst>
              <a:ext uri="{FF2B5EF4-FFF2-40B4-BE49-F238E27FC236}">
                <a16:creationId xmlns:a16="http://schemas.microsoft.com/office/drawing/2014/main" id="{F84F267C-33BF-EEBB-4667-7ACC5F522542}"/>
              </a:ext>
            </a:extLst>
          </p:cNvPr>
          <p:cNvGrpSpPr/>
          <p:nvPr/>
        </p:nvGrpSpPr>
        <p:grpSpPr>
          <a:xfrm rot="18011585">
            <a:off x="6223000" y="509360"/>
            <a:ext cx="6640285" cy="6836228"/>
            <a:chOff x="5352836" y="79620"/>
            <a:chExt cx="2896636" cy="2960160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E9FCDE68-5AF6-F944-4A1C-24EAE380C9AB}"/>
                </a:ext>
              </a:extLst>
            </p:cNvPr>
            <p:cNvSpPr/>
            <p:nvPr/>
          </p:nvSpPr>
          <p:spPr>
            <a:xfrm>
              <a:off x="5352836" y="275269"/>
              <a:ext cx="2159765" cy="2764510"/>
            </a:xfrm>
            <a:custGeom>
              <a:avLst/>
              <a:gdLst>
                <a:gd name="connsiteX0" fmla="*/ 2108492 w 2159765"/>
                <a:gd name="connsiteY0" fmla="*/ 1782498 h 2764510"/>
                <a:gd name="connsiteX1" fmla="*/ 1960637 w 2159765"/>
                <a:gd name="connsiteY1" fmla="*/ 2315962 h 2764510"/>
                <a:gd name="connsiteX2" fmla="*/ 1276268 w 2159765"/>
                <a:gd name="connsiteY2" fmla="*/ 2711251 h 2764510"/>
                <a:gd name="connsiteX3" fmla="*/ 736452 w 2159765"/>
                <a:gd name="connsiteY3" fmla="*/ 2566724 h 2764510"/>
                <a:gd name="connsiteX4" fmla="*/ 737037 w 2159765"/>
                <a:gd name="connsiteY4" fmla="*/ 2170952 h 2764510"/>
                <a:gd name="connsiteX5" fmla="*/ 591646 w 2159765"/>
                <a:gd name="connsiteY5" fmla="*/ 1632432 h 2764510"/>
                <a:gd name="connsiteX6" fmla="*/ 395538 w 2159765"/>
                <a:gd name="connsiteY6" fmla="*/ 1579708 h 2764510"/>
                <a:gd name="connsiteX7" fmla="*/ 394395 w 2159765"/>
                <a:gd name="connsiteY7" fmla="*/ 1579708 h 2764510"/>
                <a:gd name="connsiteX8" fmla="*/ -589 w 2159765"/>
                <a:gd name="connsiteY8" fmla="*/ 1184350 h 2764510"/>
                <a:gd name="connsiteX9" fmla="*/ -1504 w 2159765"/>
                <a:gd name="connsiteY9" fmla="*/ 394618 h 2764510"/>
                <a:gd name="connsiteX10" fmla="*/ -1504 w 2159765"/>
                <a:gd name="connsiteY10" fmla="*/ 394618 h 2764510"/>
                <a:gd name="connsiteX11" fmla="*/ 51347 w 2159765"/>
                <a:gd name="connsiteY11" fmla="*/ 197185 h 2764510"/>
                <a:gd name="connsiteX12" fmla="*/ 591163 w 2159765"/>
                <a:gd name="connsiteY12" fmla="*/ 52648 h 2764510"/>
                <a:gd name="connsiteX13" fmla="*/ 1960637 w 2159765"/>
                <a:gd name="connsiteY13" fmla="*/ 842380 h 2764510"/>
                <a:gd name="connsiteX14" fmla="*/ 2105265 w 2159765"/>
                <a:gd name="connsiteY14" fmla="*/ 1381784 h 2764510"/>
                <a:gd name="connsiteX15" fmla="*/ 2104045 w 2159765"/>
                <a:gd name="connsiteY15" fmla="*/ 1774672 h 2764510"/>
                <a:gd name="connsiteX16" fmla="*/ 2108492 w 2159765"/>
                <a:gd name="connsiteY16" fmla="*/ 1782498 h 276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59765" h="2764510">
                  <a:moveTo>
                    <a:pt x="2108492" y="1782498"/>
                  </a:moveTo>
                  <a:cubicBezTo>
                    <a:pt x="2212949" y="1970474"/>
                    <a:pt x="2147673" y="2208126"/>
                    <a:pt x="1960637" y="2315962"/>
                  </a:cubicBezTo>
                  <a:lnTo>
                    <a:pt x="1276268" y="2711251"/>
                  </a:lnTo>
                  <a:cubicBezTo>
                    <a:pt x="1087250" y="2820256"/>
                    <a:pt x="845610" y="2755590"/>
                    <a:pt x="736452" y="2566724"/>
                  </a:cubicBezTo>
                  <a:cubicBezTo>
                    <a:pt x="663096" y="2439780"/>
                    <a:pt x="668458" y="2289155"/>
                    <a:pt x="737037" y="2170952"/>
                  </a:cubicBezTo>
                  <a:cubicBezTo>
                    <a:pt x="845711" y="1982137"/>
                    <a:pt x="780410" y="1741361"/>
                    <a:pt x="591646" y="1632432"/>
                  </a:cubicBezTo>
                  <a:cubicBezTo>
                    <a:pt x="529648" y="1596656"/>
                    <a:pt x="462314" y="1579784"/>
                    <a:pt x="395538" y="1579708"/>
                  </a:cubicBezTo>
                  <a:cubicBezTo>
                    <a:pt x="395132" y="1579708"/>
                    <a:pt x="394801" y="1579708"/>
                    <a:pt x="394395" y="1579708"/>
                  </a:cubicBezTo>
                  <a:cubicBezTo>
                    <a:pt x="176156" y="1579708"/>
                    <a:pt x="-589" y="1402434"/>
                    <a:pt x="-589" y="1184350"/>
                  </a:cubicBezTo>
                  <a:lnTo>
                    <a:pt x="-1504" y="394618"/>
                  </a:lnTo>
                  <a:lnTo>
                    <a:pt x="-1504" y="394618"/>
                  </a:lnTo>
                  <a:cubicBezTo>
                    <a:pt x="-1504" y="327490"/>
                    <a:pt x="15368" y="259460"/>
                    <a:pt x="51347" y="197185"/>
                  </a:cubicBezTo>
                  <a:cubicBezTo>
                    <a:pt x="160428" y="8306"/>
                    <a:pt x="402145" y="-56352"/>
                    <a:pt x="591163" y="52648"/>
                  </a:cubicBezTo>
                  <a:lnTo>
                    <a:pt x="1960637" y="842380"/>
                  </a:lnTo>
                  <a:cubicBezTo>
                    <a:pt x="2149655" y="951380"/>
                    <a:pt x="2214347" y="1192908"/>
                    <a:pt x="2105265" y="1381784"/>
                  </a:cubicBezTo>
                  <a:cubicBezTo>
                    <a:pt x="2032748" y="1507320"/>
                    <a:pt x="2037524" y="1657028"/>
                    <a:pt x="2104045" y="1774672"/>
                  </a:cubicBezTo>
                  <a:lnTo>
                    <a:pt x="2108492" y="1782498"/>
                  </a:lnTo>
                  <a:close/>
                </a:path>
              </a:pathLst>
            </a:custGeom>
            <a:gradFill flip="none" rotWithShape="1">
              <a:gsLst>
                <a:gs pos="60000">
                  <a:srgbClr val="279396"/>
                </a:gs>
                <a:gs pos="28000">
                  <a:srgbClr val="A6D2D8"/>
                </a:gs>
              </a:gsLst>
              <a:lin ang="2700000" scaled="1"/>
              <a:tileRect/>
            </a:gra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D09A1BE2-6F58-654D-E079-E86E376C8DD2}"/>
                </a:ext>
              </a:extLst>
            </p:cNvPr>
            <p:cNvSpPr/>
            <p:nvPr/>
          </p:nvSpPr>
          <p:spPr>
            <a:xfrm>
              <a:off x="6038881" y="79620"/>
              <a:ext cx="2210590" cy="2566313"/>
            </a:xfrm>
            <a:custGeom>
              <a:avLst/>
              <a:gdLst>
                <a:gd name="connsiteX0" fmla="*/ 2103436 w 2210590"/>
                <a:gd name="connsiteY0" fmla="*/ 1577934 h 2566313"/>
                <a:gd name="connsiteX1" fmla="*/ 2094289 w 2210590"/>
                <a:gd name="connsiteY1" fmla="*/ 1200289 h 2566313"/>
                <a:gd name="connsiteX2" fmla="*/ 2209087 w 2210590"/>
                <a:gd name="connsiteY2" fmla="*/ 789884 h 2566313"/>
                <a:gd name="connsiteX3" fmla="*/ 1419093 w 2210590"/>
                <a:gd name="connsiteY3" fmla="*/ -305 h 2566313"/>
                <a:gd name="connsiteX4" fmla="*/ 749640 w 2210590"/>
                <a:gd name="connsiteY4" fmla="*/ 370261 h 2566313"/>
                <a:gd name="connsiteX5" fmla="*/ 735588 w 2210590"/>
                <a:gd name="connsiteY5" fmla="*/ 392979 h 2566313"/>
                <a:gd name="connsiteX6" fmla="*/ 735588 w 2210590"/>
                <a:gd name="connsiteY6" fmla="*/ 392979 h 2566313"/>
                <a:gd name="connsiteX7" fmla="*/ 394649 w 2210590"/>
                <a:gd name="connsiteY7" fmla="*/ 590527 h 2566313"/>
                <a:gd name="connsiteX8" fmla="*/ 394649 w 2210590"/>
                <a:gd name="connsiteY8" fmla="*/ 590527 h 2566313"/>
                <a:gd name="connsiteX9" fmla="*/ -1504 w 2210590"/>
                <a:gd name="connsiteY9" fmla="*/ 985621 h 2566313"/>
                <a:gd name="connsiteX10" fmla="*/ 393506 w 2210590"/>
                <a:gd name="connsiteY10" fmla="*/ 1380717 h 2566313"/>
                <a:gd name="connsiteX11" fmla="*/ 393506 w 2210590"/>
                <a:gd name="connsiteY11" fmla="*/ 1380717 h 2566313"/>
                <a:gd name="connsiteX12" fmla="*/ 590985 w 2210590"/>
                <a:gd name="connsiteY12" fmla="*/ 1433644 h 2566313"/>
                <a:gd name="connsiteX13" fmla="*/ 736071 w 2210590"/>
                <a:gd name="connsiteY13" fmla="*/ 1972380 h 2566313"/>
                <a:gd name="connsiteX14" fmla="*/ 735487 w 2210590"/>
                <a:gd name="connsiteY14" fmla="*/ 2368380 h 2566313"/>
                <a:gd name="connsiteX15" fmla="*/ 1275176 w 2210590"/>
                <a:gd name="connsiteY15" fmla="*/ 2512984 h 2566313"/>
                <a:gd name="connsiteX16" fmla="*/ 1959239 w 2210590"/>
                <a:gd name="connsiteY16" fmla="*/ 2117898 h 2566313"/>
                <a:gd name="connsiteX17" fmla="*/ 1959239 w 2210590"/>
                <a:gd name="connsiteY17" fmla="*/ 2117898 h 2566313"/>
                <a:gd name="connsiteX18" fmla="*/ 2147038 w 2210590"/>
                <a:gd name="connsiteY18" fmla="*/ 1862740 h 2566313"/>
                <a:gd name="connsiteX19" fmla="*/ 2103512 w 2210590"/>
                <a:gd name="connsiteY19" fmla="*/ 1577853 h 2566313"/>
                <a:gd name="connsiteX20" fmla="*/ 2103512 w 2210590"/>
                <a:gd name="connsiteY20" fmla="*/ 1577853 h 256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10590" h="2566313">
                  <a:moveTo>
                    <a:pt x="2103436" y="1577934"/>
                  </a:moveTo>
                  <a:cubicBezTo>
                    <a:pt x="2033891" y="1457432"/>
                    <a:pt x="2035364" y="1315609"/>
                    <a:pt x="2094289" y="1200289"/>
                  </a:cubicBezTo>
                  <a:cubicBezTo>
                    <a:pt x="2167111" y="1080691"/>
                    <a:pt x="2209087" y="940184"/>
                    <a:pt x="2209087" y="789884"/>
                  </a:cubicBezTo>
                  <a:cubicBezTo>
                    <a:pt x="2209087" y="353468"/>
                    <a:pt x="1855392" y="-305"/>
                    <a:pt x="1419093" y="-305"/>
                  </a:cubicBezTo>
                  <a:cubicBezTo>
                    <a:pt x="1136925" y="-305"/>
                    <a:pt x="889390" y="147690"/>
                    <a:pt x="749640" y="370261"/>
                  </a:cubicBezTo>
                  <a:cubicBezTo>
                    <a:pt x="744710" y="377668"/>
                    <a:pt x="740035" y="385242"/>
                    <a:pt x="735588" y="392979"/>
                  </a:cubicBezTo>
                  <a:lnTo>
                    <a:pt x="735588" y="392979"/>
                  </a:lnTo>
                  <a:cubicBezTo>
                    <a:pt x="662664" y="519245"/>
                    <a:pt x="530588" y="590032"/>
                    <a:pt x="394649" y="590527"/>
                  </a:cubicBezTo>
                  <a:cubicBezTo>
                    <a:pt x="394243" y="590527"/>
                    <a:pt x="395056" y="590527"/>
                    <a:pt x="394649" y="590527"/>
                  </a:cubicBezTo>
                  <a:cubicBezTo>
                    <a:pt x="176487" y="590527"/>
                    <a:pt x="-1504" y="767413"/>
                    <a:pt x="-1504" y="985621"/>
                  </a:cubicBezTo>
                  <a:cubicBezTo>
                    <a:pt x="-1504" y="1203829"/>
                    <a:pt x="175343" y="1380717"/>
                    <a:pt x="393506" y="1380717"/>
                  </a:cubicBezTo>
                  <a:cubicBezTo>
                    <a:pt x="393836" y="1380717"/>
                    <a:pt x="393175" y="1380717"/>
                    <a:pt x="393506" y="1380717"/>
                  </a:cubicBezTo>
                  <a:cubicBezTo>
                    <a:pt x="460306" y="1380798"/>
                    <a:pt x="528936" y="1397837"/>
                    <a:pt x="590985" y="1433644"/>
                  </a:cubicBezTo>
                  <a:cubicBezTo>
                    <a:pt x="779597" y="1542542"/>
                    <a:pt x="844364" y="1783540"/>
                    <a:pt x="736071" y="1972380"/>
                  </a:cubicBezTo>
                  <a:cubicBezTo>
                    <a:pt x="667441" y="2090735"/>
                    <a:pt x="662181" y="2241437"/>
                    <a:pt x="735487" y="2368380"/>
                  </a:cubicBezTo>
                  <a:cubicBezTo>
                    <a:pt x="844542" y="2557348"/>
                    <a:pt x="1086234" y="2622141"/>
                    <a:pt x="1275176" y="2512984"/>
                  </a:cubicBezTo>
                  <a:lnTo>
                    <a:pt x="1959239" y="2117898"/>
                  </a:lnTo>
                  <a:lnTo>
                    <a:pt x="1959239" y="2117898"/>
                  </a:lnTo>
                  <a:cubicBezTo>
                    <a:pt x="2051347" y="2064716"/>
                    <a:pt x="2121781" y="1974667"/>
                    <a:pt x="2147038" y="1862740"/>
                  </a:cubicBezTo>
                  <a:cubicBezTo>
                    <a:pt x="2169830" y="1761655"/>
                    <a:pt x="2151637" y="1660905"/>
                    <a:pt x="2103512" y="1577853"/>
                  </a:cubicBezTo>
                  <a:lnTo>
                    <a:pt x="2103512" y="1577853"/>
                  </a:lnTo>
                  <a:close/>
                </a:path>
              </a:pathLst>
            </a:custGeom>
            <a:gradFill>
              <a:gsLst>
                <a:gs pos="41000">
                  <a:srgbClr val="E3CBDA"/>
                </a:gs>
                <a:gs pos="85000">
                  <a:srgbClr val="884D83"/>
                </a:gs>
              </a:gsLst>
              <a:lin ang="2700000" scaled="1"/>
            </a:gra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FA20687-5682-3420-8A36-C8D45C866E3B}"/>
                </a:ext>
              </a:extLst>
            </p:cNvPr>
            <p:cNvSpPr/>
            <p:nvPr/>
          </p:nvSpPr>
          <p:spPr>
            <a:xfrm>
              <a:off x="6038881" y="658947"/>
              <a:ext cx="1473728" cy="1986988"/>
            </a:xfrm>
            <a:custGeom>
              <a:avLst/>
              <a:gdLst>
                <a:gd name="connsiteX0" fmla="*/ 1274718 w 1473728"/>
                <a:gd name="connsiteY0" fmla="*/ 457798 h 1986988"/>
                <a:gd name="connsiteX1" fmla="*/ 481777 w 1473728"/>
                <a:gd name="connsiteY1" fmla="*/ -305 h 1986988"/>
                <a:gd name="connsiteX2" fmla="*/ 394547 w 1473728"/>
                <a:gd name="connsiteY2" fmla="*/ 9991 h 1986988"/>
                <a:gd name="connsiteX3" fmla="*/ -1504 w 1473728"/>
                <a:gd name="connsiteY3" fmla="*/ 405333 h 1986988"/>
                <a:gd name="connsiteX4" fmla="*/ 393404 w 1473728"/>
                <a:gd name="connsiteY4" fmla="*/ 800673 h 1986988"/>
                <a:gd name="connsiteX5" fmla="*/ 590858 w 1473728"/>
                <a:gd name="connsiteY5" fmla="*/ 853633 h 1986988"/>
                <a:gd name="connsiteX6" fmla="*/ 735919 w 1473728"/>
                <a:gd name="connsiteY6" fmla="*/ 1392697 h 1986988"/>
                <a:gd name="connsiteX7" fmla="*/ 735334 w 1473728"/>
                <a:gd name="connsiteY7" fmla="*/ 1788952 h 1986988"/>
                <a:gd name="connsiteX8" fmla="*/ 1258761 w 1473728"/>
                <a:gd name="connsiteY8" fmla="*/ 1942473 h 1986988"/>
                <a:gd name="connsiteX9" fmla="*/ 1274718 w 1473728"/>
                <a:gd name="connsiteY9" fmla="*/ 1933250 h 1986988"/>
                <a:gd name="connsiteX10" fmla="*/ 1422472 w 1473728"/>
                <a:gd name="connsiteY10" fmla="*/ 1399126 h 1986988"/>
                <a:gd name="connsiteX11" fmla="*/ 1418025 w 1473728"/>
                <a:gd name="connsiteY11" fmla="*/ 1391300 h 1986988"/>
                <a:gd name="connsiteX12" fmla="*/ 1419270 w 1473728"/>
                <a:gd name="connsiteY12" fmla="*/ 997934 h 1986988"/>
                <a:gd name="connsiteX13" fmla="*/ 1274718 w 1473728"/>
                <a:gd name="connsiteY13" fmla="*/ 457879 h 198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73728" h="1986988">
                  <a:moveTo>
                    <a:pt x="1274718" y="457798"/>
                  </a:moveTo>
                  <a:lnTo>
                    <a:pt x="481777" y="-305"/>
                  </a:lnTo>
                  <a:cubicBezTo>
                    <a:pt x="453217" y="6284"/>
                    <a:pt x="424022" y="9910"/>
                    <a:pt x="394547" y="9991"/>
                  </a:cubicBezTo>
                  <a:cubicBezTo>
                    <a:pt x="176461" y="9991"/>
                    <a:pt x="-1504" y="186988"/>
                    <a:pt x="-1504" y="405333"/>
                  </a:cubicBezTo>
                  <a:cubicBezTo>
                    <a:pt x="-1504" y="623676"/>
                    <a:pt x="175292" y="800673"/>
                    <a:pt x="393404" y="800673"/>
                  </a:cubicBezTo>
                  <a:cubicBezTo>
                    <a:pt x="460204" y="800757"/>
                    <a:pt x="528834" y="817807"/>
                    <a:pt x="590858" y="853633"/>
                  </a:cubicBezTo>
                  <a:cubicBezTo>
                    <a:pt x="779419" y="962598"/>
                    <a:pt x="844187" y="1203755"/>
                    <a:pt x="735919" y="1392697"/>
                  </a:cubicBezTo>
                  <a:cubicBezTo>
                    <a:pt x="667289" y="1511129"/>
                    <a:pt x="662029" y="1661932"/>
                    <a:pt x="735334" y="1788952"/>
                  </a:cubicBezTo>
                  <a:cubicBezTo>
                    <a:pt x="841290" y="1972685"/>
                    <a:pt x="1072487" y="2039079"/>
                    <a:pt x="1258761" y="1942473"/>
                  </a:cubicBezTo>
                  <a:lnTo>
                    <a:pt x="1274718" y="1933250"/>
                  </a:lnTo>
                  <a:cubicBezTo>
                    <a:pt x="1461628" y="1825185"/>
                    <a:pt x="1526878" y="1587331"/>
                    <a:pt x="1422472" y="1399126"/>
                  </a:cubicBezTo>
                  <a:lnTo>
                    <a:pt x="1418025" y="1391300"/>
                  </a:lnTo>
                  <a:cubicBezTo>
                    <a:pt x="1351555" y="1273427"/>
                    <a:pt x="1346778" y="1123536"/>
                    <a:pt x="1419270" y="997934"/>
                  </a:cubicBezTo>
                  <a:cubicBezTo>
                    <a:pt x="1528276" y="808827"/>
                    <a:pt x="1463610" y="567093"/>
                    <a:pt x="1274718" y="457879"/>
                  </a:cubicBezTo>
                  <a:close/>
                </a:path>
              </a:pathLst>
            </a:custGeom>
            <a:solidFill>
              <a:srgbClr val="6B156B"/>
            </a:soli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98B9C8-77A8-3058-6E2A-F270B3CB745E}"/>
              </a:ext>
            </a:extLst>
          </p:cNvPr>
          <p:cNvSpPr txBox="1">
            <a:spLocks/>
          </p:cNvSpPr>
          <p:nvPr/>
        </p:nvSpPr>
        <p:spPr>
          <a:xfrm>
            <a:off x="604838" y="1471617"/>
            <a:ext cx="5861276" cy="22763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 spc="-100" baseline="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1" i="0" u="none" strike="noStrike" kern="1200" cap="none" spc="-100" normalizeH="0" baseline="0" noProof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YBRAV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9F11927-57F7-9209-2CC2-4875A2D2A3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08601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CB9E1FAE-AE79-A8A9-3ACC-8D35117EF3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9E1FAE-AE79-A8A9-3ACC-8D35117EF3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8C6AD3C6-5432-5F05-2D52-D055DEBFB3D6}"/>
              </a:ext>
            </a:extLst>
          </p:cNvPr>
          <p:cNvSpPr txBox="1">
            <a:spLocks/>
          </p:cNvSpPr>
          <p:nvPr/>
        </p:nvSpPr>
        <p:spPr>
          <a:xfrm>
            <a:off x="542621" y="205495"/>
            <a:ext cx="11512326" cy="5551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ybrava</a:t>
            </a:r>
            <a:endParaRPr kumimoji="0" lang="en-IN" sz="30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>
                <a:solidFill>
                  <a:srgbClr val="002060"/>
                </a:solidFill>
                <a:latin typeface="Arial" panose="020B0604020202020204"/>
              </a:rPr>
              <a:t>S</a:t>
            </a: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AGE: Penetration</a:t>
            </a:r>
            <a:b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</a:br>
            <a:endParaRPr kumimoji="0" lang="en-IN" sz="30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DDE9F6F-9EC9-F8EA-2F18-EC17D0750D21}"/>
              </a:ext>
            </a:extLst>
          </p:cNvPr>
          <p:cNvGrpSpPr/>
          <p:nvPr/>
        </p:nvGrpSpPr>
        <p:grpSpPr>
          <a:xfrm>
            <a:off x="435736" y="1008713"/>
            <a:ext cx="11516974" cy="841543"/>
            <a:chOff x="435736" y="1008713"/>
            <a:chExt cx="11516974" cy="84154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2ED35AB-C20F-51B7-9D9A-CE63170D41A2}"/>
                </a:ext>
              </a:extLst>
            </p:cNvPr>
            <p:cNvSpPr/>
            <p:nvPr/>
          </p:nvSpPr>
          <p:spPr>
            <a:xfrm>
              <a:off x="440384" y="1028375"/>
              <a:ext cx="11512326" cy="406537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6" name="Graphic 5" descr="User with solid fill">
              <a:extLst>
                <a:ext uri="{FF2B5EF4-FFF2-40B4-BE49-F238E27FC236}">
                  <a16:creationId xmlns:a16="http://schemas.microsoft.com/office/drawing/2014/main" id="{B84637A5-1E36-7200-7BD7-20C395045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4670386" y="1014600"/>
              <a:ext cx="349338" cy="39425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9152696-D7F5-4AB4-C797-B3D7CF234610}"/>
                </a:ext>
              </a:extLst>
            </p:cNvPr>
            <p:cNvSpPr/>
            <p:nvPr/>
          </p:nvSpPr>
          <p:spPr>
            <a:xfrm>
              <a:off x="7736965" y="1014119"/>
              <a:ext cx="4205240" cy="406538"/>
            </a:xfrm>
            <a:prstGeom prst="rect">
              <a:avLst/>
            </a:prstGeom>
            <a:solidFill>
              <a:srgbClr val="27531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471B69C-1A3B-DF82-4D2E-10AC035B429B}"/>
                </a:ext>
              </a:extLst>
            </p:cNvPr>
            <p:cNvSpPr/>
            <p:nvPr/>
          </p:nvSpPr>
          <p:spPr>
            <a:xfrm>
              <a:off x="4572615" y="1087934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rofil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42B8B87-DFE5-45D6-BCFB-9AEAA550AE86}"/>
                </a:ext>
              </a:extLst>
            </p:cNvPr>
            <p:cNvSpPr/>
            <p:nvPr/>
          </p:nvSpPr>
          <p:spPr>
            <a:xfrm>
              <a:off x="8392185" y="1048076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Innovation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7CA2DF2-FD51-013F-574D-674488387085}"/>
                </a:ext>
              </a:extLst>
            </p:cNvPr>
            <p:cNvSpPr txBox="1"/>
            <p:nvPr/>
          </p:nvSpPr>
          <p:spPr>
            <a:xfrm>
              <a:off x="2162875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4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7534481-1F4E-AA3E-BBFE-0973DD405E58}"/>
                </a:ext>
              </a:extLst>
            </p:cNvPr>
            <p:cNvSpPr txBox="1"/>
            <p:nvPr/>
          </p:nvSpPr>
          <p:spPr>
            <a:xfrm>
              <a:off x="9134451" y="1480924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4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D71E898-1AC4-34CE-F671-6E2C4DAE331E}"/>
                </a:ext>
              </a:extLst>
            </p:cNvPr>
            <p:cNvSpPr txBox="1"/>
            <p:nvPr/>
          </p:nvSpPr>
          <p:spPr>
            <a:xfrm>
              <a:off x="5217515" y="1480924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1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1F7F27A-2DBA-5163-F42B-2D812F30B7CA}"/>
                </a:ext>
              </a:extLst>
            </p:cNvPr>
            <p:cNvSpPr/>
            <p:nvPr/>
          </p:nvSpPr>
          <p:spPr>
            <a:xfrm>
              <a:off x="6096000" y="1008713"/>
              <a:ext cx="1676784" cy="412521"/>
            </a:xfrm>
            <a:prstGeom prst="rect">
              <a:avLst/>
            </a:prstGeom>
            <a:solidFill>
              <a:srgbClr val="022A4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           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Adoption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4FD2EFD-9949-F570-AD9E-8ADFBBE0F56F}"/>
                </a:ext>
              </a:extLst>
            </p:cNvPr>
            <p:cNvSpPr txBox="1"/>
            <p:nvPr/>
          </p:nvSpPr>
          <p:spPr>
            <a:xfrm>
              <a:off x="6721582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1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8" name="Graphic 17" descr="DNA with solid fill">
              <a:extLst>
                <a:ext uri="{FF2B5EF4-FFF2-40B4-BE49-F238E27FC236}">
                  <a16:creationId xmlns:a16="http://schemas.microsoft.com/office/drawing/2014/main" id="{DD6AA676-A568-DB28-4050-3BE7F798219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19532624">
              <a:off x="8339961" y="1061397"/>
              <a:ext cx="351019" cy="351019"/>
            </a:xfrm>
            <a:prstGeom prst="rect">
              <a:avLst/>
            </a:prstGeom>
          </p:spPr>
        </p:pic>
        <p:pic>
          <p:nvPicPr>
            <p:cNvPr id="8" name="Graphic 7" descr="First aid kit with solid fill">
              <a:extLst>
                <a:ext uri="{FF2B5EF4-FFF2-40B4-BE49-F238E27FC236}">
                  <a16:creationId xmlns:a16="http://schemas.microsoft.com/office/drawing/2014/main" id="{2AAB5AAE-2106-8373-9957-9C9F97D39A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298784" y="1038759"/>
              <a:ext cx="312298" cy="358409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03EE3BB-CBA7-20CD-BDED-55598BC6AD39}"/>
                </a:ext>
              </a:extLst>
            </p:cNvPr>
            <p:cNvSpPr/>
            <p:nvPr/>
          </p:nvSpPr>
          <p:spPr>
            <a:xfrm>
              <a:off x="435736" y="1025080"/>
              <a:ext cx="4203500" cy="41523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innerShdw blurRad="63500" dist="508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5" name="Graphic 4" descr="Mountains with solid fill">
              <a:extLst>
                <a:ext uri="{FF2B5EF4-FFF2-40B4-BE49-F238E27FC236}">
                  <a16:creationId xmlns:a16="http://schemas.microsoft.com/office/drawing/2014/main" id="{A42203DA-2A66-CA4C-8CF9-94EDC6AD0F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021797" y="1014119"/>
              <a:ext cx="341338" cy="394252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CD26741-C770-2F61-49B0-628D94E15223}"/>
                </a:ext>
              </a:extLst>
            </p:cNvPr>
            <p:cNvSpPr/>
            <p:nvPr/>
          </p:nvSpPr>
          <p:spPr>
            <a:xfrm>
              <a:off x="1988866" y="1080651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otential</a:t>
              </a:r>
            </a:p>
          </p:txBody>
        </p:sp>
      </p:grp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1EC57E09-C49C-95C1-239C-50CBBAFFCF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2900364"/>
              </p:ext>
            </p:extLst>
          </p:nvPr>
        </p:nvGraphicFramePr>
        <p:xfrm>
          <a:off x="8263337" y="2316634"/>
          <a:ext cx="3637443" cy="2015880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Innova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ig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25% PCSK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edium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%-25% PCSK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49428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w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-10% PCSK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1938BD33-49DE-A7DB-A859-906CC0BAEF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5128697"/>
              </p:ext>
            </p:extLst>
          </p:nvPr>
        </p:nvGraphicFramePr>
        <p:xfrm>
          <a:off x="439896" y="2316634"/>
          <a:ext cx="2111521" cy="1854667"/>
        </p:xfrm>
        <a:graphic>
          <a:graphicData uri="http://schemas.openxmlformats.org/drawingml/2006/table">
            <a:tbl>
              <a:tblPr/>
              <a:tblGrid>
                <a:gridCol w="1239763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871758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Market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W STATIN</a:t>
                      </a: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BOS</a:t>
                      </a: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ZETIMIBE</a:t>
                      </a: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GH STATIN</a:t>
                      </a: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CSK9</a:t>
                      </a: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BRAVA</a:t>
                      </a:r>
                    </a:p>
                    <a:p>
                      <a:pPr algn="ctr" fontAlgn="ctr"/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f</a:t>
                      </a:r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escriptions</a:t>
                      </a:r>
                      <a:endParaRPr lang="es-MX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AE0BC4B5-E99B-8968-189E-0DEA73C20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0314405"/>
              </p:ext>
            </p:extLst>
          </p:nvPr>
        </p:nvGraphicFramePr>
        <p:xfrm>
          <a:off x="2649579" y="2316634"/>
          <a:ext cx="1769638" cy="3221604"/>
        </p:xfrm>
        <a:graphic>
          <a:graphicData uri="http://schemas.openxmlformats.org/drawingml/2006/table">
            <a:tbl>
              <a:tblPr/>
              <a:tblGrid>
                <a:gridCol w="1115642">
                  <a:extLst>
                    <a:ext uri="{9D8B030D-6E8A-4147-A177-3AD203B41FA5}">
                      <a16:colId xmlns:a16="http://schemas.microsoft.com/office/drawing/2014/main" val="2321963324"/>
                    </a:ext>
                  </a:extLst>
                </a:gridCol>
                <a:gridCol w="653996">
                  <a:extLst>
                    <a:ext uri="{9D8B030D-6E8A-4147-A177-3AD203B41FA5}">
                      <a16:colId xmlns:a16="http://schemas.microsoft.com/office/drawing/2014/main" val="3973014528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Profil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3006088"/>
                  </a:ext>
                </a:extLst>
              </a:tr>
              <a:tr h="63782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Cardio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388667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Internal Medicin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6601028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Endocrin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164537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General Medicine/Family docto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870216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Oth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5069074"/>
                  </a:ext>
                </a:extLst>
              </a:tr>
            </a:tbl>
          </a:graphicData>
        </a:graphic>
      </p:graphicFrame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FA7CF23F-E99C-4A58-C731-80DC1880DF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2895457"/>
              </p:ext>
            </p:extLst>
          </p:nvPr>
        </p:nvGraphicFramePr>
        <p:xfrm>
          <a:off x="4517379" y="2316634"/>
          <a:ext cx="3637443" cy="3008502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4725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Y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41%-10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ANS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26%-4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1%-25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%-1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654914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 PRESCRIBE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153025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D7E052B-2A77-26FF-571A-46154A9F3A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32346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CB9E1FAE-AE79-A8A9-3ACC-8D35117EF3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9E1FAE-AE79-A8A9-3ACC-8D35117EF3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8C6AD3C6-5432-5F05-2D52-D055DEBFB3D6}"/>
              </a:ext>
            </a:extLst>
          </p:cNvPr>
          <p:cNvSpPr txBox="1">
            <a:spLocks/>
          </p:cNvSpPr>
          <p:nvPr/>
        </p:nvSpPr>
        <p:spPr>
          <a:xfrm>
            <a:off x="542621" y="205495"/>
            <a:ext cx="11512326" cy="5551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ybrava</a:t>
            </a:r>
            <a:endParaRPr kumimoji="0" lang="en-IN" sz="30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>
                <a:solidFill>
                  <a:srgbClr val="002060"/>
                </a:solidFill>
                <a:latin typeface="Arial" panose="020B0604020202020204"/>
              </a:rPr>
              <a:t>S</a:t>
            </a: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AGE: Penetration</a:t>
            </a:r>
            <a:b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</a:br>
            <a:endParaRPr kumimoji="0" lang="en-IN" sz="30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DDE9F6F-9EC9-F8EA-2F18-EC17D0750D21}"/>
              </a:ext>
            </a:extLst>
          </p:cNvPr>
          <p:cNvGrpSpPr/>
          <p:nvPr/>
        </p:nvGrpSpPr>
        <p:grpSpPr>
          <a:xfrm>
            <a:off x="435736" y="1008713"/>
            <a:ext cx="11516974" cy="841543"/>
            <a:chOff x="435736" y="1008713"/>
            <a:chExt cx="11516974" cy="84154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2ED35AB-C20F-51B7-9D9A-CE63170D41A2}"/>
                </a:ext>
              </a:extLst>
            </p:cNvPr>
            <p:cNvSpPr/>
            <p:nvPr/>
          </p:nvSpPr>
          <p:spPr>
            <a:xfrm>
              <a:off x="440384" y="1028375"/>
              <a:ext cx="11512326" cy="406537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6" name="Graphic 5" descr="User with solid fill">
              <a:extLst>
                <a:ext uri="{FF2B5EF4-FFF2-40B4-BE49-F238E27FC236}">
                  <a16:creationId xmlns:a16="http://schemas.microsoft.com/office/drawing/2014/main" id="{B84637A5-1E36-7200-7BD7-20C395045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4670386" y="1014600"/>
              <a:ext cx="349338" cy="39425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9152696-D7F5-4AB4-C797-B3D7CF234610}"/>
                </a:ext>
              </a:extLst>
            </p:cNvPr>
            <p:cNvSpPr/>
            <p:nvPr/>
          </p:nvSpPr>
          <p:spPr>
            <a:xfrm>
              <a:off x="7736965" y="1014119"/>
              <a:ext cx="4205240" cy="406538"/>
            </a:xfrm>
            <a:prstGeom prst="rect">
              <a:avLst/>
            </a:prstGeom>
            <a:solidFill>
              <a:srgbClr val="27531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471B69C-1A3B-DF82-4D2E-10AC035B429B}"/>
                </a:ext>
              </a:extLst>
            </p:cNvPr>
            <p:cNvSpPr/>
            <p:nvPr/>
          </p:nvSpPr>
          <p:spPr>
            <a:xfrm>
              <a:off x="4572615" y="1087934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rofil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42B8B87-DFE5-45D6-BCFB-9AEAA550AE86}"/>
                </a:ext>
              </a:extLst>
            </p:cNvPr>
            <p:cNvSpPr/>
            <p:nvPr/>
          </p:nvSpPr>
          <p:spPr>
            <a:xfrm>
              <a:off x="8392185" y="1048076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Innovation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7CA2DF2-FD51-013F-574D-674488387085}"/>
                </a:ext>
              </a:extLst>
            </p:cNvPr>
            <p:cNvSpPr txBox="1"/>
            <p:nvPr/>
          </p:nvSpPr>
          <p:spPr>
            <a:xfrm>
              <a:off x="2162875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4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7534481-1F4E-AA3E-BBFE-0973DD405E58}"/>
                </a:ext>
              </a:extLst>
            </p:cNvPr>
            <p:cNvSpPr txBox="1"/>
            <p:nvPr/>
          </p:nvSpPr>
          <p:spPr>
            <a:xfrm>
              <a:off x="9134451" y="1480924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4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D71E898-1AC4-34CE-F671-6E2C4DAE331E}"/>
                </a:ext>
              </a:extLst>
            </p:cNvPr>
            <p:cNvSpPr txBox="1"/>
            <p:nvPr/>
          </p:nvSpPr>
          <p:spPr>
            <a:xfrm>
              <a:off x="5217515" y="1480924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1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1F7F27A-2DBA-5163-F42B-2D812F30B7CA}"/>
                </a:ext>
              </a:extLst>
            </p:cNvPr>
            <p:cNvSpPr/>
            <p:nvPr/>
          </p:nvSpPr>
          <p:spPr>
            <a:xfrm>
              <a:off x="6096000" y="1008713"/>
              <a:ext cx="1676784" cy="412521"/>
            </a:xfrm>
            <a:prstGeom prst="rect">
              <a:avLst/>
            </a:prstGeom>
            <a:solidFill>
              <a:srgbClr val="022A4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           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Adoption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4FD2EFD-9949-F570-AD9E-8ADFBBE0F56F}"/>
                </a:ext>
              </a:extLst>
            </p:cNvPr>
            <p:cNvSpPr txBox="1"/>
            <p:nvPr/>
          </p:nvSpPr>
          <p:spPr>
            <a:xfrm>
              <a:off x="6721582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1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8" name="Graphic 17" descr="DNA with solid fill">
              <a:extLst>
                <a:ext uri="{FF2B5EF4-FFF2-40B4-BE49-F238E27FC236}">
                  <a16:creationId xmlns:a16="http://schemas.microsoft.com/office/drawing/2014/main" id="{DD6AA676-A568-DB28-4050-3BE7F79821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9532624">
              <a:off x="8339961" y="1061397"/>
              <a:ext cx="351019" cy="351019"/>
            </a:xfrm>
            <a:prstGeom prst="rect">
              <a:avLst/>
            </a:prstGeom>
          </p:spPr>
        </p:pic>
        <p:pic>
          <p:nvPicPr>
            <p:cNvPr id="8" name="Graphic 7" descr="First aid kit with solid fill">
              <a:extLst>
                <a:ext uri="{FF2B5EF4-FFF2-40B4-BE49-F238E27FC236}">
                  <a16:creationId xmlns:a16="http://schemas.microsoft.com/office/drawing/2014/main" id="{2AAB5AAE-2106-8373-9957-9C9F97D39A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298784" y="1038759"/>
              <a:ext cx="312298" cy="358409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03EE3BB-CBA7-20CD-BDED-55598BC6AD39}"/>
                </a:ext>
              </a:extLst>
            </p:cNvPr>
            <p:cNvSpPr/>
            <p:nvPr/>
          </p:nvSpPr>
          <p:spPr>
            <a:xfrm>
              <a:off x="435736" y="1025080"/>
              <a:ext cx="4203500" cy="41523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innerShdw blurRad="63500" dist="508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5" name="Graphic 4" descr="Mountains with solid fill">
              <a:extLst>
                <a:ext uri="{FF2B5EF4-FFF2-40B4-BE49-F238E27FC236}">
                  <a16:creationId xmlns:a16="http://schemas.microsoft.com/office/drawing/2014/main" id="{A42203DA-2A66-CA4C-8CF9-94EDC6AD0F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021797" y="1014119"/>
              <a:ext cx="341338" cy="394252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CD26741-C770-2F61-49B0-628D94E15223}"/>
                </a:ext>
              </a:extLst>
            </p:cNvPr>
            <p:cNvSpPr/>
            <p:nvPr/>
          </p:nvSpPr>
          <p:spPr>
            <a:xfrm>
              <a:off x="1988866" y="1080651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otential</a:t>
              </a:r>
            </a:p>
          </p:txBody>
        </p:sp>
      </p:grp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1EC57E09-C49C-95C1-239C-50CBBAFFCF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3250474"/>
              </p:ext>
            </p:extLst>
          </p:nvPr>
        </p:nvGraphicFramePr>
        <p:xfrm>
          <a:off x="8263337" y="2316634"/>
          <a:ext cx="3637443" cy="2015880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Innova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ig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25% PCSK9+Sybrav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edium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%-25% PCSK9+Sybrav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494289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w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-10% PCSK9+Sybrav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1938BD33-49DE-A7DB-A859-906CC0BAEF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0354205"/>
              </p:ext>
            </p:extLst>
          </p:nvPr>
        </p:nvGraphicFramePr>
        <p:xfrm>
          <a:off x="439896" y="2316634"/>
          <a:ext cx="2111521" cy="1306027"/>
        </p:xfrm>
        <a:graphic>
          <a:graphicData uri="http://schemas.openxmlformats.org/drawingml/2006/table">
            <a:tbl>
              <a:tblPr/>
              <a:tblGrid>
                <a:gridCol w="1239763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871758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Market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BOS</a:t>
                      </a: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CSK9</a:t>
                      </a:r>
                    </a:p>
                    <a:p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BRAVA</a:t>
                      </a:r>
                    </a:p>
                    <a:p>
                      <a:pPr algn="ctr" fontAlgn="ctr"/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f</a:t>
                      </a:r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escriptions</a:t>
                      </a:r>
                      <a:endParaRPr lang="es-MX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AE0BC4B5-E99B-8968-189E-0DEA73C20346}"/>
              </a:ext>
            </a:extLst>
          </p:cNvPr>
          <p:cNvGraphicFramePr>
            <a:graphicFrameLocks noGrp="1"/>
          </p:cNvGraphicFramePr>
          <p:nvPr/>
        </p:nvGraphicFramePr>
        <p:xfrm>
          <a:off x="2649579" y="2316634"/>
          <a:ext cx="1769638" cy="3221604"/>
        </p:xfrm>
        <a:graphic>
          <a:graphicData uri="http://schemas.openxmlformats.org/drawingml/2006/table">
            <a:tbl>
              <a:tblPr/>
              <a:tblGrid>
                <a:gridCol w="1115642">
                  <a:extLst>
                    <a:ext uri="{9D8B030D-6E8A-4147-A177-3AD203B41FA5}">
                      <a16:colId xmlns:a16="http://schemas.microsoft.com/office/drawing/2014/main" val="2321963324"/>
                    </a:ext>
                  </a:extLst>
                </a:gridCol>
                <a:gridCol w="653996">
                  <a:extLst>
                    <a:ext uri="{9D8B030D-6E8A-4147-A177-3AD203B41FA5}">
                      <a16:colId xmlns:a16="http://schemas.microsoft.com/office/drawing/2014/main" val="3973014528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Profil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3006088"/>
                  </a:ext>
                </a:extLst>
              </a:tr>
              <a:tr h="637826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Cardio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388667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Internal Medicin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6601028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Endocrin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164537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General Medicine/Family docto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870216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Oth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5069074"/>
                  </a:ext>
                </a:extLst>
              </a:tr>
            </a:tbl>
          </a:graphicData>
        </a:graphic>
      </p:graphicFrame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FA7CF23F-E99C-4A58-C731-80DC1880DFE5}"/>
              </a:ext>
            </a:extLst>
          </p:cNvPr>
          <p:cNvGraphicFramePr>
            <a:graphicFrameLocks noGrp="1"/>
          </p:cNvGraphicFramePr>
          <p:nvPr/>
        </p:nvGraphicFramePr>
        <p:xfrm>
          <a:off x="4517379" y="2316634"/>
          <a:ext cx="3637443" cy="3008502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4725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Y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41%-10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ANS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26%-4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1%-25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%-1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654914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 PRESCRIBE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153025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2D4F3F2B-E9B7-DA42-6ABF-58A410EA3CC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933290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EF8980-7E72-A0EB-3891-83697E42E4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7091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EF8980-7E72-A0EB-3891-83697E42E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5799DC-9C77-1194-3F97-52C1EBFE6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473" y="100397"/>
            <a:ext cx="11678638" cy="1065278"/>
          </a:xfrm>
        </p:spPr>
        <p:txBody>
          <a:bodyPr vert="horz"/>
          <a:lstStyle/>
          <a:p>
            <a:r>
              <a:rPr lang="en-US">
                <a:solidFill>
                  <a:srgbClr val="002060"/>
                </a:solidFill>
              </a:rPr>
              <a:t>Weights for the value drivers are dependent on multiple factors and could change over the brand lifecycle</a:t>
            </a: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1D51FE75-18BD-A15A-E133-D3C4407F1982}"/>
              </a:ext>
            </a:extLst>
          </p:cNvPr>
          <p:cNvSpPr/>
          <p:nvPr/>
        </p:nvSpPr>
        <p:spPr>
          <a:xfrm>
            <a:off x="387024" y="3637321"/>
            <a:ext cx="1270195" cy="369102"/>
          </a:xfrm>
          <a:prstGeom prst="round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owth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543CC1FB-A91B-8296-A815-597C6FDE98DD}"/>
              </a:ext>
            </a:extLst>
          </p:cNvPr>
          <p:cNvSpPr/>
          <p:nvPr/>
        </p:nvSpPr>
        <p:spPr>
          <a:xfrm>
            <a:off x="387024" y="4664346"/>
            <a:ext cx="1280966" cy="369103"/>
          </a:xfrm>
          <a:prstGeom prst="round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imize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887B4151-3183-84D0-9253-A1B5D253E136}"/>
              </a:ext>
            </a:extLst>
          </p:cNvPr>
          <p:cNvSpPr/>
          <p:nvPr/>
        </p:nvSpPr>
        <p:spPr>
          <a:xfrm>
            <a:off x="387024" y="5669599"/>
            <a:ext cx="1280966" cy="369103"/>
          </a:xfrm>
          <a:prstGeom prst="round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cline</a:t>
            </a:r>
          </a:p>
        </p:txBody>
      </p:sp>
      <p:sp>
        <p:nvSpPr>
          <p:cNvPr id="150" name="Rectangle: Rounded Corners 149">
            <a:extLst>
              <a:ext uri="{FF2B5EF4-FFF2-40B4-BE49-F238E27FC236}">
                <a16:creationId xmlns:a16="http://schemas.microsoft.com/office/drawing/2014/main" id="{9736CF6C-9F09-D53D-747A-F51B1E0809A5}"/>
              </a:ext>
            </a:extLst>
          </p:cNvPr>
          <p:cNvSpPr/>
          <p:nvPr/>
        </p:nvSpPr>
        <p:spPr>
          <a:xfrm>
            <a:off x="7918391" y="3378577"/>
            <a:ext cx="3822719" cy="69046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365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y customers on the adoption status to increase market share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2" name="Rectangle: Rounded Corners 151">
            <a:extLst>
              <a:ext uri="{FF2B5EF4-FFF2-40B4-BE49-F238E27FC236}">
                <a16:creationId xmlns:a16="http://schemas.microsoft.com/office/drawing/2014/main" id="{2637F8F4-4887-7173-0EEA-F9DD9C586634}"/>
              </a:ext>
            </a:extLst>
          </p:cNvPr>
          <p:cNvSpPr/>
          <p:nvPr/>
        </p:nvSpPr>
        <p:spPr>
          <a:xfrm>
            <a:off x="7918392" y="4423560"/>
            <a:ext cx="3822718" cy="69046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365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stain the loyalists and unlock new potential customers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4" name="Rectangle: Rounded Corners 153">
            <a:extLst>
              <a:ext uri="{FF2B5EF4-FFF2-40B4-BE49-F238E27FC236}">
                <a16:creationId xmlns:a16="http://schemas.microsoft.com/office/drawing/2014/main" id="{374130F2-DF13-A117-42D9-2C9B6B857F0D}"/>
              </a:ext>
            </a:extLst>
          </p:cNvPr>
          <p:cNvSpPr/>
          <p:nvPr/>
        </p:nvSpPr>
        <p:spPr>
          <a:xfrm>
            <a:off x="7909505" y="5483068"/>
            <a:ext cx="3831605" cy="69046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36575"/>
            <a:r>
              <a:rPr lang="en-US" sz="1400" dirty="0">
                <a:solidFill>
                  <a:srgbClr val="000000">
                    <a:lumMod val="95000"/>
                    <a:lumOff val="5000"/>
                  </a:srgbClr>
                </a:solidFill>
                <a:latin typeface="Arial" panose="020B0604020202020204"/>
                <a:sym typeface="Arial"/>
              </a:rPr>
              <a:t>Squeeze remaining value w/o investment</a:t>
            </a:r>
          </a:p>
        </p:txBody>
      </p:sp>
      <p:pic>
        <p:nvPicPr>
          <p:cNvPr id="155" name="Graphic 154" descr="Information with solid fill">
            <a:extLst>
              <a:ext uri="{FF2B5EF4-FFF2-40B4-BE49-F238E27FC236}">
                <a16:creationId xmlns:a16="http://schemas.microsoft.com/office/drawing/2014/main" id="{439C244F-16A1-4C10-BB41-9B6CF07B7ED9}"/>
              </a:ext>
            </a:extLst>
          </p:cNvPr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972870" y="5577654"/>
            <a:ext cx="517480" cy="457200"/>
          </a:xfrm>
          <a:prstGeom prst="rect">
            <a:avLst/>
          </a:prstGeom>
        </p:spPr>
      </p:pic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00155E0B-3CBB-CD6C-DE1C-6007325941C0}"/>
              </a:ext>
            </a:extLst>
          </p:cNvPr>
          <p:cNvCxnSpPr>
            <a:cxnSpLocks/>
          </p:cNvCxnSpPr>
          <p:nvPr/>
        </p:nvCxnSpPr>
        <p:spPr>
          <a:xfrm>
            <a:off x="443473" y="4301111"/>
            <a:ext cx="11241188" cy="0"/>
          </a:xfrm>
          <a:prstGeom prst="line">
            <a:avLst/>
          </a:prstGeom>
          <a:ln w="12700">
            <a:solidFill>
              <a:srgbClr val="0460A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72FC4266-01A7-56D3-C5CB-68891DABE286}"/>
              </a:ext>
            </a:extLst>
          </p:cNvPr>
          <p:cNvCxnSpPr>
            <a:cxnSpLocks/>
          </p:cNvCxnSpPr>
          <p:nvPr/>
        </p:nvCxnSpPr>
        <p:spPr>
          <a:xfrm>
            <a:off x="417542" y="5402892"/>
            <a:ext cx="11241188" cy="0"/>
          </a:xfrm>
          <a:prstGeom prst="line">
            <a:avLst/>
          </a:prstGeom>
          <a:ln w="12700">
            <a:solidFill>
              <a:srgbClr val="0460A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639DEABE-1204-708A-B18A-3D3251503075}"/>
              </a:ext>
            </a:extLst>
          </p:cNvPr>
          <p:cNvSpPr/>
          <p:nvPr/>
        </p:nvSpPr>
        <p:spPr>
          <a:xfrm>
            <a:off x="1880864" y="3649874"/>
            <a:ext cx="5737599" cy="33844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12DF63D-9EE6-C74A-D10C-3B24684EC82B}"/>
              </a:ext>
            </a:extLst>
          </p:cNvPr>
          <p:cNvSpPr/>
          <p:nvPr/>
        </p:nvSpPr>
        <p:spPr>
          <a:xfrm>
            <a:off x="1880864" y="3658918"/>
            <a:ext cx="1960127" cy="30403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3" name="Graphic 32" descr="Mountains with solid fill">
            <a:extLst>
              <a:ext uri="{FF2B5EF4-FFF2-40B4-BE49-F238E27FC236}">
                <a16:creationId xmlns:a16="http://schemas.microsoft.com/office/drawing/2014/main" id="{ECBD1EA2-0392-2782-B047-7AF36EA042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15252" y="3603477"/>
            <a:ext cx="341338" cy="394252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AC57D88E-34BB-4E1F-7D32-3E37EA00E4CC}"/>
              </a:ext>
            </a:extLst>
          </p:cNvPr>
          <p:cNvSpPr/>
          <p:nvPr/>
        </p:nvSpPr>
        <p:spPr>
          <a:xfrm>
            <a:off x="1876884" y="4684091"/>
            <a:ext cx="5737599" cy="33844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F76266E-A33E-4909-27E8-B1A725C2D2F2}"/>
              </a:ext>
            </a:extLst>
          </p:cNvPr>
          <p:cNvSpPr/>
          <p:nvPr/>
        </p:nvSpPr>
        <p:spPr>
          <a:xfrm>
            <a:off x="1876885" y="4682366"/>
            <a:ext cx="2123246" cy="31901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8" name="Graphic 37" descr="Mountains with solid fill">
            <a:extLst>
              <a:ext uri="{FF2B5EF4-FFF2-40B4-BE49-F238E27FC236}">
                <a16:creationId xmlns:a16="http://schemas.microsoft.com/office/drawing/2014/main" id="{30BC84E3-216B-5928-4F01-80C5BB661A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11272" y="4658960"/>
            <a:ext cx="341338" cy="394252"/>
          </a:xfrm>
          <a:prstGeom prst="rect">
            <a:avLst/>
          </a:prstGeom>
        </p:spPr>
      </p:pic>
      <p:pic>
        <p:nvPicPr>
          <p:cNvPr id="39" name="Graphic 38" descr="User with solid fill">
            <a:extLst>
              <a:ext uri="{FF2B5EF4-FFF2-40B4-BE49-F238E27FC236}">
                <a16:creationId xmlns:a16="http://schemas.microsoft.com/office/drawing/2014/main" id="{D7940BBF-FDE8-D201-B3FF-4FD432F72FA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4000131" y="4638269"/>
            <a:ext cx="349338" cy="39425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9C5E4B11-6332-4F62-B07E-55B98907A115}"/>
              </a:ext>
            </a:extLst>
          </p:cNvPr>
          <p:cNvSpPr/>
          <p:nvPr/>
        </p:nvSpPr>
        <p:spPr>
          <a:xfrm>
            <a:off x="4845575" y="4690997"/>
            <a:ext cx="2768907" cy="338441"/>
          </a:xfrm>
          <a:prstGeom prst="rect">
            <a:avLst/>
          </a:prstGeom>
          <a:solidFill>
            <a:srgbClr val="022A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1" name="Graphic 40" descr="First aid kit with solid fill">
            <a:extLst>
              <a:ext uri="{FF2B5EF4-FFF2-40B4-BE49-F238E27FC236}">
                <a16:creationId xmlns:a16="http://schemas.microsoft.com/office/drawing/2014/main" id="{4FF4F0A8-4C11-178C-2578-8A7FA5386E4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421323" y="4684091"/>
            <a:ext cx="312298" cy="358409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28B507AF-F8FF-69CD-D24D-40E2757ED45D}"/>
              </a:ext>
            </a:extLst>
          </p:cNvPr>
          <p:cNvSpPr/>
          <p:nvPr/>
        </p:nvSpPr>
        <p:spPr>
          <a:xfrm>
            <a:off x="1872753" y="5673326"/>
            <a:ext cx="5737599" cy="33844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D8E9652-C0BC-BC81-369D-60E74BECBFD3}"/>
              </a:ext>
            </a:extLst>
          </p:cNvPr>
          <p:cNvSpPr/>
          <p:nvPr/>
        </p:nvSpPr>
        <p:spPr>
          <a:xfrm>
            <a:off x="1872754" y="5671600"/>
            <a:ext cx="2284042" cy="32650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1" name="Graphic 30" descr="Mountains with solid fill">
            <a:extLst>
              <a:ext uri="{FF2B5EF4-FFF2-40B4-BE49-F238E27FC236}">
                <a16:creationId xmlns:a16="http://schemas.microsoft.com/office/drawing/2014/main" id="{8729EE65-05AB-E374-0CBE-439D8D91C4C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07141" y="5648195"/>
            <a:ext cx="341338" cy="394252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5A298AB-561F-CF7D-F284-225A22BFCC2C}"/>
              </a:ext>
            </a:extLst>
          </p:cNvPr>
          <p:cNvSpPr/>
          <p:nvPr/>
        </p:nvSpPr>
        <p:spPr>
          <a:xfrm>
            <a:off x="4140144" y="5680233"/>
            <a:ext cx="3470207" cy="329425"/>
          </a:xfrm>
          <a:prstGeom prst="rect">
            <a:avLst/>
          </a:prstGeom>
          <a:solidFill>
            <a:srgbClr val="022A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4" name="Graphic 43" descr="First aid kit with solid fill">
            <a:extLst>
              <a:ext uri="{FF2B5EF4-FFF2-40B4-BE49-F238E27FC236}">
                <a16:creationId xmlns:a16="http://schemas.microsoft.com/office/drawing/2014/main" id="{B937149A-8C72-0BE1-A434-5087E61205E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57287" y="5661770"/>
            <a:ext cx="312298" cy="358409"/>
          </a:xfrm>
          <a:prstGeom prst="rect">
            <a:avLst/>
          </a:prstGeom>
        </p:spPr>
      </p:pic>
      <p:pic>
        <p:nvPicPr>
          <p:cNvPr id="45" name="Graphic 44" descr="Information with solid fill">
            <a:extLst>
              <a:ext uri="{FF2B5EF4-FFF2-40B4-BE49-F238E27FC236}">
                <a16:creationId xmlns:a16="http://schemas.microsoft.com/office/drawing/2014/main" id="{1C74DE1B-6B9B-9666-6576-D148D675EF87}"/>
              </a:ext>
            </a:extLst>
          </p:cNvPr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972870" y="4540192"/>
            <a:ext cx="517480" cy="457200"/>
          </a:xfrm>
          <a:prstGeom prst="rect">
            <a:avLst/>
          </a:prstGeom>
        </p:spPr>
      </p:pic>
      <p:pic>
        <p:nvPicPr>
          <p:cNvPr id="46" name="Graphic 45" descr="Information with solid fill">
            <a:extLst>
              <a:ext uri="{FF2B5EF4-FFF2-40B4-BE49-F238E27FC236}">
                <a16:creationId xmlns:a16="http://schemas.microsoft.com/office/drawing/2014/main" id="{41BF2104-3E54-A7EB-E6CA-8DE4C587C0EC}"/>
              </a:ext>
            </a:extLst>
          </p:cNvPr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967114" y="3495427"/>
            <a:ext cx="517480" cy="457200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85E3C17C-F33E-2587-D2C0-926E830A6E89}"/>
              </a:ext>
            </a:extLst>
          </p:cNvPr>
          <p:cNvSpPr/>
          <p:nvPr/>
        </p:nvSpPr>
        <p:spPr>
          <a:xfrm>
            <a:off x="1949866" y="3674888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otential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ABBA4CA-C488-77D2-AE9C-C46CADF99768}"/>
              </a:ext>
            </a:extLst>
          </p:cNvPr>
          <p:cNvSpPr/>
          <p:nvPr/>
        </p:nvSpPr>
        <p:spPr>
          <a:xfrm>
            <a:off x="1978369" y="4704132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otential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21B5C6B-116A-5A74-E0F8-5CD9C0AB520A}"/>
              </a:ext>
            </a:extLst>
          </p:cNvPr>
          <p:cNvSpPr/>
          <p:nvPr/>
        </p:nvSpPr>
        <p:spPr>
          <a:xfrm>
            <a:off x="3651335" y="4703273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rofil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27E49C2-C8FA-11FA-83DA-7016144FC119}"/>
              </a:ext>
            </a:extLst>
          </p:cNvPr>
          <p:cNvSpPr/>
          <p:nvPr/>
        </p:nvSpPr>
        <p:spPr>
          <a:xfrm>
            <a:off x="5332652" y="4711846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Adoption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3E30505-AB3D-732F-972B-2F29BFD8155E}"/>
              </a:ext>
            </a:extLst>
          </p:cNvPr>
          <p:cNvSpPr/>
          <p:nvPr/>
        </p:nvSpPr>
        <p:spPr>
          <a:xfrm>
            <a:off x="2016924" y="5701813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otential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D7FDA057-2697-112F-2D94-A40253EA71CC}"/>
              </a:ext>
            </a:extLst>
          </p:cNvPr>
          <p:cNvSpPr/>
          <p:nvPr/>
        </p:nvSpPr>
        <p:spPr>
          <a:xfrm>
            <a:off x="5066684" y="5701813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Adoptio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A88F854-8381-0663-148E-FD2FA235F880}"/>
              </a:ext>
            </a:extLst>
          </p:cNvPr>
          <p:cNvSpPr txBox="1"/>
          <p:nvPr/>
        </p:nvSpPr>
        <p:spPr>
          <a:xfrm>
            <a:off x="2677842" y="4987052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4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5347C6C-FB27-29FD-01C8-FD16A9406570}"/>
              </a:ext>
            </a:extLst>
          </p:cNvPr>
          <p:cNvSpPr txBox="1"/>
          <p:nvPr/>
        </p:nvSpPr>
        <p:spPr>
          <a:xfrm>
            <a:off x="6483526" y="4978667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5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EC9DF70-026F-6598-6BF0-BF50DB864C97}"/>
              </a:ext>
            </a:extLst>
          </p:cNvPr>
          <p:cNvSpPr txBox="1"/>
          <p:nvPr/>
        </p:nvSpPr>
        <p:spPr>
          <a:xfrm>
            <a:off x="4306797" y="5010584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1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13FAF68-19E3-AD24-ADF1-2EC549B5B601}"/>
              </a:ext>
            </a:extLst>
          </p:cNvPr>
          <p:cNvSpPr txBox="1"/>
          <p:nvPr/>
        </p:nvSpPr>
        <p:spPr>
          <a:xfrm>
            <a:off x="2653857" y="3969857"/>
            <a:ext cx="52253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40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F8DA6EC-3B97-C0CA-7BE7-2B6FB8514CDC}"/>
              </a:ext>
            </a:extLst>
          </p:cNvPr>
          <p:cNvSpPr txBox="1"/>
          <p:nvPr/>
        </p:nvSpPr>
        <p:spPr>
          <a:xfrm>
            <a:off x="5583143" y="3970555"/>
            <a:ext cx="52253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3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BB112AF-EC59-2005-85D0-FDABE70EB77B}"/>
              </a:ext>
            </a:extLst>
          </p:cNvPr>
          <p:cNvSpPr txBox="1"/>
          <p:nvPr/>
        </p:nvSpPr>
        <p:spPr>
          <a:xfrm>
            <a:off x="2817605" y="5977849"/>
            <a:ext cx="5229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4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8EA7D3B-2AD2-19AE-2DDE-1F771DE15D94}"/>
              </a:ext>
            </a:extLst>
          </p:cNvPr>
          <p:cNvSpPr txBox="1"/>
          <p:nvPr/>
        </p:nvSpPr>
        <p:spPr>
          <a:xfrm>
            <a:off x="5707037" y="5990672"/>
            <a:ext cx="5229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6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A6F9E16-EF16-4E82-FC8B-5275CE6D3913}"/>
              </a:ext>
            </a:extLst>
          </p:cNvPr>
          <p:cNvSpPr/>
          <p:nvPr/>
        </p:nvSpPr>
        <p:spPr>
          <a:xfrm>
            <a:off x="387024" y="1440286"/>
            <a:ext cx="1270195" cy="369102"/>
          </a:xfrm>
          <a:prstGeom prst="round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-LAUNCH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4D9D95D-55FA-5C8D-5BD3-5831AE5CBFB2}"/>
              </a:ext>
            </a:extLst>
          </p:cNvPr>
          <p:cNvSpPr/>
          <p:nvPr/>
        </p:nvSpPr>
        <p:spPr>
          <a:xfrm>
            <a:off x="387024" y="2587057"/>
            <a:ext cx="1280966" cy="369103"/>
          </a:xfrm>
          <a:prstGeom prst="round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netratio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714412F-EFD3-54B6-54A5-0147C7EDCF78}"/>
              </a:ext>
            </a:extLst>
          </p:cNvPr>
          <p:cNvSpPr/>
          <p:nvPr/>
        </p:nvSpPr>
        <p:spPr>
          <a:xfrm>
            <a:off x="7861942" y="1181542"/>
            <a:ext cx="3822719" cy="69046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365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>
                <a:solidFill>
                  <a:srgbClr val="3C4043"/>
                </a:solidFill>
                <a:effectLst/>
                <a:highlight>
                  <a:srgbClr val="F5F5F5"/>
                </a:highlight>
                <a:latin typeface="Roboto" panose="02000000000000000000" pitchFamily="2" charset="0"/>
              </a:rPr>
              <a:t>Prepare the market and product access to expand awareness and perscriptive power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AEF2F78-4A13-4899-93EF-B34AD9612F20}"/>
              </a:ext>
            </a:extLst>
          </p:cNvPr>
          <p:cNvSpPr/>
          <p:nvPr/>
        </p:nvSpPr>
        <p:spPr>
          <a:xfrm>
            <a:off x="7861943" y="2346271"/>
            <a:ext cx="3822718" cy="69046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365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imize the coverage </a:t>
            </a:r>
          </a:p>
          <a:p>
            <a:pPr marL="5365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rgeting the HCPs with better likelihood of prescribing innovation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D97D539-AF6F-5C77-927B-867C30398D07}"/>
              </a:ext>
            </a:extLst>
          </p:cNvPr>
          <p:cNvCxnSpPr>
            <a:cxnSpLocks/>
          </p:cNvCxnSpPr>
          <p:nvPr/>
        </p:nvCxnSpPr>
        <p:spPr>
          <a:xfrm>
            <a:off x="387024" y="2223822"/>
            <a:ext cx="11241188" cy="0"/>
          </a:xfrm>
          <a:prstGeom prst="line">
            <a:avLst/>
          </a:prstGeom>
          <a:ln w="12700">
            <a:solidFill>
              <a:srgbClr val="0460A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14EE2B-D352-B07B-525D-C37D5BE4988F}"/>
              </a:ext>
            </a:extLst>
          </p:cNvPr>
          <p:cNvCxnSpPr>
            <a:cxnSpLocks/>
          </p:cNvCxnSpPr>
          <p:nvPr/>
        </p:nvCxnSpPr>
        <p:spPr>
          <a:xfrm>
            <a:off x="361093" y="3303831"/>
            <a:ext cx="11241188" cy="0"/>
          </a:xfrm>
          <a:prstGeom prst="line">
            <a:avLst/>
          </a:prstGeom>
          <a:ln w="12700">
            <a:solidFill>
              <a:srgbClr val="0460A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B2912C35-D67F-8A0E-5E07-D32785E4F2A4}"/>
              </a:ext>
            </a:extLst>
          </p:cNvPr>
          <p:cNvSpPr/>
          <p:nvPr/>
        </p:nvSpPr>
        <p:spPr>
          <a:xfrm>
            <a:off x="1824415" y="1452839"/>
            <a:ext cx="5737599" cy="33844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D558F51-0EAB-FC8A-8119-9D35D44F950E}"/>
              </a:ext>
            </a:extLst>
          </p:cNvPr>
          <p:cNvSpPr/>
          <p:nvPr/>
        </p:nvSpPr>
        <p:spPr>
          <a:xfrm>
            <a:off x="1824416" y="1461882"/>
            <a:ext cx="3021160" cy="323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5" name="Graphic 14" descr="Mountains with solid fill">
            <a:extLst>
              <a:ext uri="{FF2B5EF4-FFF2-40B4-BE49-F238E27FC236}">
                <a16:creationId xmlns:a16="http://schemas.microsoft.com/office/drawing/2014/main" id="{1514D1F7-DFAA-0C86-7236-DE3BC31CE7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58803" y="1406442"/>
            <a:ext cx="341338" cy="39425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DCBF3AC-E297-4DE8-DBB5-12A7C416C964}"/>
              </a:ext>
            </a:extLst>
          </p:cNvPr>
          <p:cNvSpPr/>
          <p:nvPr/>
        </p:nvSpPr>
        <p:spPr>
          <a:xfrm>
            <a:off x="1820435" y="2606802"/>
            <a:ext cx="5737599" cy="33844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0B14A4-ECDD-F689-CCAD-9A857313B026}"/>
              </a:ext>
            </a:extLst>
          </p:cNvPr>
          <p:cNvSpPr/>
          <p:nvPr/>
        </p:nvSpPr>
        <p:spPr>
          <a:xfrm>
            <a:off x="1820436" y="2605076"/>
            <a:ext cx="2020555" cy="33552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9" name="Graphic 18" descr="Mountains with solid fill">
            <a:extLst>
              <a:ext uri="{FF2B5EF4-FFF2-40B4-BE49-F238E27FC236}">
                <a16:creationId xmlns:a16="http://schemas.microsoft.com/office/drawing/2014/main" id="{2661FA7C-4D12-4613-3CC9-9B5E27F71D0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54823" y="2581671"/>
            <a:ext cx="341338" cy="394252"/>
          </a:xfrm>
          <a:prstGeom prst="rect">
            <a:avLst/>
          </a:prstGeom>
        </p:spPr>
      </p:pic>
      <p:pic>
        <p:nvPicPr>
          <p:cNvPr id="20" name="Graphic 19" descr="User with solid fill">
            <a:extLst>
              <a:ext uri="{FF2B5EF4-FFF2-40B4-BE49-F238E27FC236}">
                <a16:creationId xmlns:a16="http://schemas.microsoft.com/office/drawing/2014/main" id="{7BE11DD3-5E5D-3FBF-8A76-BBC88610AA6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3866298" y="2582779"/>
            <a:ext cx="349338" cy="39425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3F98470D-6A51-7012-9EAD-1FE4F29E9277}"/>
              </a:ext>
            </a:extLst>
          </p:cNvPr>
          <p:cNvSpPr/>
          <p:nvPr/>
        </p:nvSpPr>
        <p:spPr>
          <a:xfrm>
            <a:off x="5821726" y="2613709"/>
            <a:ext cx="1736307" cy="331540"/>
          </a:xfrm>
          <a:prstGeom prst="rect">
            <a:avLst/>
          </a:prstGeom>
          <a:solidFill>
            <a:srgbClr val="27531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3" name="Graphic 22" descr="Information with solid fill">
            <a:extLst>
              <a:ext uri="{FF2B5EF4-FFF2-40B4-BE49-F238E27FC236}">
                <a16:creationId xmlns:a16="http://schemas.microsoft.com/office/drawing/2014/main" id="{727102CD-BC0E-AF8F-1D18-2A9D03B9E673}"/>
              </a:ext>
            </a:extLst>
          </p:cNvPr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916421" y="2462903"/>
            <a:ext cx="517480" cy="457200"/>
          </a:xfrm>
          <a:prstGeom prst="rect">
            <a:avLst/>
          </a:prstGeom>
        </p:spPr>
      </p:pic>
      <p:pic>
        <p:nvPicPr>
          <p:cNvPr id="24" name="Graphic 23" descr="Information with solid fill">
            <a:extLst>
              <a:ext uri="{FF2B5EF4-FFF2-40B4-BE49-F238E27FC236}">
                <a16:creationId xmlns:a16="http://schemas.microsoft.com/office/drawing/2014/main" id="{4F71399B-AE2E-EDA3-E265-D0C5B6D47D35}"/>
              </a:ext>
            </a:extLst>
          </p:cNvPr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910665" y="1298392"/>
            <a:ext cx="517480" cy="4572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DDC9BE8B-E13A-B709-E8CE-64470661123D}"/>
              </a:ext>
            </a:extLst>
          </p:cNvPr>
          <p:cNvSpPr/>
          <p:nvPr/>
        </p:nvSpPr>
        <p:spPr>
          <a:xfrm>
            <a:off x="1893417" y="1477853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otential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930E019-AB44-08FD-16C8-C1C152C7868C}"/>
              </a:ext>
            </a:extLst>
          </p:cNvPr>
          <p:cNvSpPr/>
          <p:nvPr/>
        </p:nvSpPr>
        <p:spPr>
          <a:xfrm>
            <a:off x="1921920" y="2626843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otential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53DBD63-AFEE-2385-C620-5772057DF3E4}"/>
              </a:ext>
            </a:extLst>
          </p:cNvPr>
          <p:cNvSpPr/>
          <p:nvPr/>
        </p:nvSpPr>
        <p:spPr>
          <a:xfrm>
            <a:off x="3612428" y="2615432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rofil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D8B9687-8905-11DF-C784-F6300E0027DF}"/>
              </a:ext>
            </a:extLst>
          </p:cNvPr>
          <p:cNvSpPr/>
          <p:nvPr/>
        </p:nvSpPr>
        <p:spPr>
          <a:xfrm>
            <a:off x="5798717" y="2634557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Innova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F931FE0-ABF8-8916-53F4-E0C1FB0A2001}"/>
              </a:ext>
            </a:extLst>
          </p:cNvPr>
          <p:cNvSpPr txBox="1"/>
          <p:nvPr/>
        </p:nvSpPr>
        <p:spPr>
          <a:xfrm>
            <a:off x="2717921" y="2920852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4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6475B9C-8526-5F84-4652-F56FADDDAD16}"/>
              </a:ext>
            </a:extLst>
          </p:cNvPr>
          <p:cNvSpPr txBox="1"/>
          <p:nvPr/>
        </p:nvSpPr>
        <p:spPr>
          <a:xfrm>
            <a:off x="6427077" y="2901378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4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0F7FA0F-CA79-5961-9EF4-CD6763452C11}"/>
              </a:ext>
            </a:extLst>
          </p:cNvPr>
          <p:cNvSpPr txBox="1"/>
          <p:nvPr/>
        </p:nvSpPr>
        <p:spPr>
          <a:xfrm>
            <a:off x="4163189" y="2942377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1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CA5ED03-C3B6-29AA-3EAF-424E58B7CA48}"/>
              </a:ext>
            </a:extLst>
          </p:cNvPr>
          <p:cNvSpPr txBox="1"/>
          <p:nvPr/>
        </p:nvSpPr>
        <p:spPr>
          <a:xfrm>
            <a:off x="3262011" y="1770416"/>
            <a:ext cx="52253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5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BDB3456-299C-66F1-43FB-688135A5285C}"/>
              </a:ext>
            </a:extLst>
          </p:cNvPr>
          <p:cNvSpPr txBox="1"/>
          <p:nvPr/>
        </p:nvSpPr>
        <p:spPr>
          <a:xfrm>
            <a:off x="6484249" y="1762555"/>
            <a:ext cx="52253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4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8960E2E-8738-338D-C3A9-C17E3F988AA1}"/>
              </a:ext>
            </a:extLst>
          </p:cNvPr>
          <p:cNvSpPr/>
          <p:nvPr/>
        </p:nvSpPr>
        <p:spPr>
          <a:xfrm>
            <a:off x="4845575" y="2601945"/>
            <a:ext cx="998834" cy="334144"/>
          </a:xfrm>
          <a:prstGeom prst="rect">
            <a:avLst/>
          </a:prstGeom>
          <a:solidFill>
            <a:srgbClr val="022A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      Adoptio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B0015A9-1454-FBDE-38FC-497DF539CE60}"/>
              </a:ext>
            </a:extLst>
          </p:cNvPr>
          <p:cNvSpPr txBox="1"/>
          <p:nvPr/>
        </p:nvSpPr>
        <p:spPr>
          <a:xfrm>
            <a:off x="5198019" y="2953234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1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488C69F-A8B3-6B93-B362-6ABA834073D3}"/>
              </a:ext>
            </a:extLst>
          </p:cNvPr>
          <p:cNvSpPr/>
          <p:nvPr/>
        </p:nvSpPr>
        <p:spPr>
          <a:xfrm>
            <a:off x="4830022" y="3655705"/>
            <a:ext cx="1736307" cy="331540"/>
          </a:xfrm>
          <a:prstGeom prst="rect">
            <a:avLst/>
          </a:prstGeom>
          <a:solidFill>
            <a:srgbClr val="022A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0" name="Graphic 69" descr="First aid kit with solid fill">
            <a:extLst>
              <a:ext uri="{FF2B5EF4-FFF2-40B4-BE49-F238E27FC236}">
                <a16:creationId xmlns:a16="http://schemas.microsoft.com/office/drawing/2014/main" id="{5C2CB374-48CC-29C6-E705-B41F042706F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21118" y="3640597"/>
            <a:ext cx="312298" cy="358409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B8AE97B3-AE73-7498-6B93-B20475884E15}"/>
              </a:ext>
            </a:extLst>
          </p:cNvPr>
          <p:cNvSpPr/>
          <p:nvPr/>
        </p:nvSpPr>
        <p:spPr>
          <a:xfrm>
            <a:off x="4888905" y="3668352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Adoption</a:t>
            </a:r>
          </a:p>
        </p:txBody>
      </p:sp>
      <p:pic>
        <p:nvPicPr>
          <p:cNvPr id="72" name="Graphic 71" descr="User with solid fill">
            <a:extLst>
              <a:ext uri="{FF2B5EF4-FFF2-40B4-BE49-F238E27FC236}">
                <a16:creationId xmlns:a16="http://schemas.microsoft.com/office/drawing/2014/main" id="{193C5AD7-4322-2F1E-4DA3-951CDC2DBE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3846127" y="3613774"/>
            <a:ext cx="349338" cy="394250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F1505BB4-690E-C3AA-825E-ADB884B0B257}"/>
              </a:ext>
            </a:extLst>
          </p:cNvPr>
          <p:cNvSpPr/>
          <p:nvPr/>
        </p:nvSpPr>
        <p:spPr>
          <a:xfrm>
            <a:off x="3553686" y="3678682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rofile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0477B33-DDFA-20D8-4F2F-E998860E37FF}"/>
              </a:ext>
            </a:extLst>
          </p:cNvPr>
          <p:cNvSpPr txBox="1"/>
          <p:nvPr/>
        </p:nvSpPr>
        <p:spPr>
          <a:xfrm>
            <a:off x="4069517" y="3986761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1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8D9F0ED7-E02A-CAB0-1FBE-F6A5C51CE4FF}"/>
              </a:ext>
            </a:extLst>
          </p:cNvPr>
          <p:cNvSpPr/>
          <p:nvPr/>
        </p:nvSpPr>
        <p:spPr>
          <a:xfrm>
            <a:off x="5765787" y="1448209"/>
            <a:ext cx="1824068" cy="343078"/>
          </a:xfrm>
          <a:prstGeom prst="rect">
            <a:avLst/>
          </a:prstGeom>
          <a:solidFill>
            <a:srgbClr val="27531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9FDC334-56E9-3288-2DFE-57758FAB5D2F}"/>
              </a:ext>
            </a:extLst>
          </p:cNvPr>
          <p:cNvSpPr/>
          <p:nvPr/>
        </p:nvSpPr>
        <p:spPr>
          <a:xfrm>
            <a:off x="5830538" y="1469057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Innovation</a:t>
            </a:r>
          </a:p>
        </p:txBody>
      </p:sp>
      <p:pic>
        <p:nvPicPr>
          <p:cNvPr id="78" name="Graphic 77" descr="User with solid fill">
            <a:extLst>
              <a:ext uri="{FF2B5EF4-FFF2-40B4-BE49-F238E27FC236}">
                <a16:creationId xmlns:a16="http://schemas.microsoft.com/office/drawing/2014/main" id="{D434FDBF-9C42-DBC5-D0AE-C2B826B2A1A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4814900" y="1417929"/>
            <a:ext cx="349338" cy="394250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5C78EE2E-5BDF-4867-D293-0F6AE232F053}"/>
              </a:ext>
            </a:extLst>
          </p:cNvPr>
          <p:cNvSpPr/>
          <p:nvPr/>
        </p:nvSpPr>
        <p:spPr>
          <a:xfrm>
            <a:off x="4561030" y="1461468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rofile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B89E3F7-D739-666F-2E74-C582B3F6A58A}"/>
              </a:ext>
            </a:extLst>
          </p:cNvPr>
          <p:cNvSpPr txBox="1"/>
          <p:nvPr/>
        </p:nvSpPr>
        <p:spPr>
          <a:xfrm>
            <a:off x="5111791" y="1777527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1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4" name="Graphic 33" descr="DNA with solid fill">
            <a:extLst>
              <a:ext uri="{FF2B5EF4-FFF2-40B4-BE49-F238E27FC236}">
                <a16:creationId xmlns:a16="http://schemas.microsoft.com/office/drawing/2014/main" id="{E2BEBC8F-3CFF-39E8-4A45-E0BFEF0AAE8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9532624">
            <a:off x="5942800" y="2588899"/>
            <a:ext cx="351019" cy="351019"/>
          </a:xfrm>
          <a:prstGeom prst="rect">
            <a:avLst/>
          </a:prstGeom>
        </p:spPr>
      </p:pic>
      <p:pic>
        <p:nvPicPr>
          <p:cNvPr id="22" name="Graphic 21" descr="First aid kit with solid fill">
            <a:extLst>
              <a:ext uri="{FF2B5EF4-FFF2-40B4-BE49-F238E27FC236}">
                <a16:creationId xmlns:a16="http://schemas.microsoft.com/office/drawing/2014/main" id="{E426C23C-4B3D-BAE2-E351-10892933B88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830022" y="2593549"/>
            <a:ext cx="312298" cy="358409"/>
          </a:xfrm>
          <a:prstGeom prst="rect">
            <a:avLst/>
          </a:prstGeom>
        </p:spPr>
      </p:pic>
      <p:pic>
        <p:nvPicPr>
          <p:cNvPr id="53" name="Graphic 52" descr="DNA with solid fill">
            <a:extLst>
              <a:ext uri="{FF2B5EF4-FFF2-40B4-BE49-F238E27FC236}">
                <a16:creationId xmlns:a16="http://schemas.microsoft.com/office/drawing/2014/main" id="{6674570E-F7CF-9AB4-1525-7EE33DF48EE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9532624">
            <a:off x="5921073" y="1455401"/>
            <a:ext cx="351019" cy="351019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91BF7AD7-431E-BFB5-392E-71B5A0E5D6D3}"/>
              </a:ext>
            </a:extLst>
          </p:cNvPr>
          <p:cNvSpPr/>
          <p:nvPr/>
        </p:nvSpPr>
        <p:spPr>
          <a:xfrm>
            <a:off x="6483526" y="3658438"/>
            <a:ext cx="1137069" cy="328324"/>
          </a:xfrm>
          <a:prstGeom prst="rect">
            <a:avLst/>
          </a:prstGeom>
          <a:solidFill>
            <a:srgbClr val="27531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DA2CBA72-7D20-6211-0E74-608217381FD8}"/>
              </a:ext>
            </a:extLst>
          </p:cNvPr>
          <p:cNvSpPr/>
          <p:nvPr/>
        </p:nvSpPr>
        <p:spPr>
          <a:xfrm>
            <a:off x="6666570" y="3681495"/>
            <a:ext cx="1067362" cy="307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Innovation</a:t>
            </a:r>
          </a:p>
        </p:txBody>
      </p:sp>
      <p:pic>
        <p:nvPicPr>
          <p:cNvPr id="85" name="Graphic 84" descr="DNA with solid fill">
            <a:extLst>
              <a:ext uri="{FF2B5EF4-FFF2-40B4-BE49-F238E27FC236}">
                <a16:creationId xmlns:a16="http://schemas.microsoft.com/office/drawing/2014/main" id="{9D8B6B4C-1965-46C4-3D20-E3B01E05646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9532624">
            <a:off x="6453867" y="3624511"/>
            <a:ext cx="372776" cy="372776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523EBA9D-C30A-9904-8ACC-8E6A41AFA93C}"/>
              </a:ext>
            </a:extLst>
          </p:cNvPr>
          <p:cNvSpPr txBox="1"/>
          <p:nvPr/>
        </p:nvSpPr>
        <p:spPr>
          <a:xfrm>
            <a:off x="6771719" y="3981281"/>
            <a:ext cx="52253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2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34045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EF8980-7E72-A0EB-3891-83697E42E4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EF8980-7E72-A0EB-3891-83697E42E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5799DC-9C77-1194-3F97-52C1EBFE6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473" y="100397"/>
            <a:ext cx="11678638" cy="1065278"/>
          </a:xfrm>
        </p:spPr>
        <p:txBody>
          <a:bodyPr vert="horz"/>
          <a:lstStyle/>
          <a:p>
            <a:r>
              <a:rPr lang="en-US">
                <a:solidFill>
                  <a:srgbClr val="002060"/>
                </a:solidFill>
              </a:rPr>
              <a:t>Weights for the value drivers are dependent on multiple factors and could change over the brand lifecycle</a:t>
            </a: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1D51FE75-18BD-A15A-E133-D3C4407F1982}"/>
              </a:ext>
            </a:extLst>
          </p:cNvPr>
          <p:cNvSpPr/>
          <p:nvPr/>
        </p:nvSpPr>
        <p:spPr>
          <a:xfrm>
            <a:off x="387024" y="3637321"/>
            <a:ext cx="1270195" cy="369102"/>
          </a:xfrm>
          <a:prstGeom prst="round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owth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543CC1FB-A91B-8296-A815-597C6FDE98DD}"/>
              </a:ext>
            </a:extLst>
          </p:cNvPr>
          <p:cNvSpPr/>
          <p:nvPr/>
        </p:nvSpPr>
        <p:spPr>
          <a:xfrm>
            <a:off x="387024" y="4664346"/>
            <a:ext cx="1280966" cy="369103"/>
          </a:xfrm>
          <a:prstGeom prst="round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imize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887B4151-3183-84D0-9253-A1B5D253E136}"/>
              </a:ext>
            </a:extLst>
          </p:cNvPr>
          <p:cNvSpPr/>
          <p:nvPr/>
        </p:nvSpPr>
        <p:spPr>
          <a:xfrm>
            <a:off x="387024" y="5669599"/>
            <a:ext cx="1280966" cy="369103"/>
          </a:xfrm>
          <a:prstGeom prst="round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cline</a:t>
            </a:r>
          </a:p>
        </p:txBody>
      </p:sp>
      <p:sp>
        <p:nvSpPr>
          <p:cNvPr id="150" name="Rectangle: Rounded Corners 149">
            <a:extLst>
              <a:ext uri="{FF2B5EF4-FFF2-40B4-BE49-F238E27FC236}">
                <a16:creationId xmlns:a16="http://schemas.microsoft.com/office/drawing/2014/main" id="{9736CF6C-9F09-D53D-747A-F51B1E0809A5}"/>
              </a:ext>
            </a:extLst>
          </p:cNvPr>
          <p:cNvSpPr/>
          <p:nvPr/>
        </p:nvSpPr>
        <p:spPr>
          <a:xfrm>
            <a:off x="7918391" y="3378577"/>
            <a:ext cx="3822719" cy="69046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365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y customers on the adoption status to increase market share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2" name="Rectangle: Rounded Corners 151">
            <a:extLst>
              <a:ext uri="{FF2B5EF4-FFF2-40B4-BE49-F238E27FC236}">
                <a16:creationId xmlns:a16="http://schemas.microsoft.com/office/drawing/2014/main" id="{2637F8F4-4887-7173-0EEA-F9DD9C586634}"/>
              </a:ext>
            </a:extLst>
          </p:cNvPr>
          <p:cNvSpPr/>
          <p:nvPr/>
        </p:nvSpPr>
        <p:spPr>
          <a:xfrm>
            <a:off x="7918392" y="4423560"/>
            <a:ext cx="3822718" cy="69046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365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stain the loyalists and unlock new potential customers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4" name="Rectangle: Rounded Corners 153">
            <a:extLst>
              <a:ext uri="{FF2B5EF4-FFF2-40B4-BE49-F238E27FC236}">
                <a16:creationId xmlns:a16="http://schemas.microsoft.com/office/drawing/2014/main" id="{374130F2-DF13-A117-42D9-2C9B6B857F0D}"/>
              </a:ext>
            </a:extLst>
          </p:cNvPr>
          <p:cNvSpPr/>
          <p:nvPr/>
        </p:nvSpPr>
        <p:spPr>
          <a:xfrm>
            <a:off x="7909505" y="5483068"/>
            <a:ext cx="3831605" cy="69046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36575"/>
            <a:r>
              <a:rPr lang="en-US" sz="1400" dirty="0">
                <a:solidFill>
                  <a:srgbClr val="000000">
                    <a:lumMod val="95000"/>
                    <a:lumOff val="5000"/>
                  </a:srgbClr>
                </a:solidFill>
                <a:latin typeface="Arial" panose="020B0604020202020204"/>
                <a:sym typeface="Arial"/>
              </a:rPr>
              <a:t>Squeeze remaining value w/o investment</a:t>
            </a:r>
          </a:p>
        </p:txBody>
      </p:sp>
      <p:pic>
        <p:nvPicPr>
          <p:cNvPr id="155" name="Graphic 154" descr="Information with solid fill">
            <a:extLst>
              <a:ext uri="{FF2B5EF4-FFF2-40B4-BE49-F238E27FC236}">
                <a16:creationId xmlns:a16="http://schemas.microsoft.com/office/drawing/2014/main" id="{439C244F-16A1-4C10-BB41-9B6CF07B7ED9}"/>
              </a:ext>
            </a:extLst>
          </p:cNvPr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972870" y="5577654"/>
            <a:ext cx="517480" cy="457200"/>
          </a:xfrm>
          <a:prstGeom prst="rect">
            <a:avLst/>
          </a:prstGeom>
        </p:spPr>
      </p:pic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00155E0B-3CBB-CD6C-DE1C-6007325941C0}"/>
              </a:ext>
            </a:extLst>
          </p:cNvPr>
          <p:cNvCxnSpPr>
            <a:cxnSpLocks/>
          </p:cNvCxnSpPr>
          <p:nvPr/>
        </p:nvCxnSpPr>
        <p:spPr>
          <a:xfrm>
            <a:off x="443473" y="4301111"/>
            <a:ext cx="11241188" cy="0"/>
          </a:xfrm>
          <a:prstGeom prst="line">
            <a:avLst/>
          </a:prstGeom>
          <a:ln w="12700">
            <a:solidFill>
              <a:srgbClr val="0460A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72FC4266-01A7-56D3-C5CB-68891DABE286}"/>
              </a:ext>
            </a:extLst>
          </p:cNvPr>
          <p:cNvCxnSpPr>
            <a:cxnSpLocks/>
          </p:cNvCxnSpPr>
          <p:nvPr/>
        </p:nvCxnSpPr>
        <p:spPr>
          <a:xfrm>
            <a:off x="417542" y="5402892"/>
            <a:ext cx="11241188" cy="0"/>
          </a:xfrm>
          <a:prstGeom prst="line">
            <a:avLst/>
          </a:prstGeom>
          <a:ln w="12700">
            <a:solidFill>
              <a:srgbClr val="0460A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639DEABE-1204-708A-B18A-3D3251503075}"/>
              </a:ext>
            </a:extLst>
          </p:cNvPr>
          <p:cNvSpPr/>
          <p:nvPr/>
        </p:nvSpPr>
        <p:spPr>
          <a:xfrm>
            <a:off x="1880864" y="3649874"/>
            <a:ext cx="5737599" cy="33844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12DF63D-9EE6-C74A-D10C-3B24684EC82B}"/>
              </a:ext>
            </a:extLst>
          </p:cNvPr>
          <p:cNvSpPr/>
          <p:nvPr/>
        </p:nvSpPr>
        <p:spPr>
          <a:xfrm>
            <a:off x="1880864" y="3658918"/>
            <a:ext cx="1960127" cy="30403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3" name="Graphic 32" descr="Mountains with solid fill">
            <a:extLst>
              <a:ext uri="{FF2B5EF4-FFF2-40B4-BE49-F238E27FC236}">
                <a16:creationId xmlns:a16="http://schemas.microsoft.com/office/drawing/2014/main" id="{ECBD1EA2-0392-2782-B047-7AF36EA042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15252" y="3603477"/>
            <a:ext cx="341338" cy="394252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AC57D88E-34BB-4E1F-7D32-3E37EA00E4CC}"/>
              </a:ext>
            </a:extLst>
          </p:cNvPr>
          <p:cNvSpPr/>
          <p:nvPr/>
        </p:nvSpPr>
        <p:spPr>
          <a:xfrm>
            <a:off x="1876884" y="4684091"/>
            <a:ext cx="5737599" cy="33844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F76266E-A33E-4909-27E8-B1A725C2D2F2}"/>
              </a:ext>
            </a:extLst>
          </p:cNvPr>
          <p:cNvSpPr/>
          <p:nvPr/>
        </p:nvSpPr>
        <p:spPr>
          <a:xfrm>
            <a:off x="1876885" y="4682366"/>
            <a:ext cx="2123246" cy="31901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8" name="Graphic 37" descr="Mountains with solid fill">
            <a:extLst>
              <a:ext uri="{FF2B5EF4-FFF2-40B4-BE49-F238E27FC236}">
                <a16:creationId xmlns:a16="http://schemas.microsoft.com/office/drawing/2014/main" id="{30BC84E3-216B-5928-4F01-80C5BB661A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11272" y="4658960"/>
            <a:ext cx="341338" cy="394252"/>
          </a:xfrm>
          <a:prstGeom prst="rect">
            <a:avLst/>
          </a:prstGeom>
        </p:spPr>
      </p:pic>
      <p:pic>
        <p:nvPicPr>
          <p:cNvPr id="39" name="Graphic 38" descr="User with solid fill">
            <a:extLst>
              <a:ext uri="{FF2B5EF4-FFF2-40B4-BE49-F238E27FC236}">
                <a16:creationId xmlns:a16="http://schemas.microsoft.com/office/drawing/2014/main" id="{D7940BBF-FDE8-D201-B3FF-4FD432F72FA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4000131" y="4638269"/>
            <a:ext cx="349338" cy="39425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9C5E4B11-6332-4F62-B07E-55B98907A115}"/>
              </a:ext>
            </a:extLst>
          </p:cNvPr>
          <p:cNvSpPr/>
          <p:nvPr/>
        </p:nvSpPr>
        <p:spPr>
          <a:xfrm>
            <a:off x="4845575" y="4690997"/>
            <a:ext cx="2768907" cy="338441"/>
          </a:xfrm>
          <a:prstGeom prst="rect">
            <a:avLst/>
          </a:prstGeom>
          <a:solidFill>
            <a:srgbClr val="022A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1" name="Graphic 40" descr="First aid kit with solid fill">
            <a:extLst>
              <a:ext uri="{FF2B5EF4-FFF2-40B4-BE49-F238E27FC236}">
                <a16:creationId xmlns:a16="http://schemas.microsoft.com/office/drawing/2014/main" id="{4FF4F0A8-4C11-178C-2578-8A7FA5386E4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421323" y="4684091"/>
            <a:ext cx="312298" cy="358409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28B507AF-F8FF-69CD-D24D-40E2757ED45D}"/>
              </a:ext>
            </a:extLst>
          </p:cNvPr>
          <p:cNvSpPr/>
          <p:nvPr/>
        </p:nvSpPr>
        <p:spPr>
          <a:xfrm>
            <a:off x="1872753" y="5673326"/>
            <a:ext cx="5737599" cy="33844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D8E9652-C0BC-BC81-369D-60E74BECBFD3}"/>
              </a:ext>
            </a:extLst>
          </p:cNvPr>
          <p:cNvSpPr/>
          <p:nvPr/>
        </p:nvSpPr>
        <p:spPr>
          <a:xfrm>
            <a:off x="1872754" y="5671600"/>
            <a:ext cx="2284042" cy="32650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1" name="Graphic 30" descr="Mountains with solid fill">
            <a:extLst>
              <a:ext uri="{FF2B5EF4-FFF2-40B4-BE49-F238E27FC236}">
                <a16:creationId xmlns:a16="http://schemas.microsoft.com/office/drawing/2014/main" id="{8729EE65-05AB-E374-0CBE-439D8D91C4C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007141" y="5648195"/>
            <a:ext cx="341338" cy="394252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B5A298AB-561F-CF7D-F284-225A22BFCC2C}"/>
              </a:ext>
            </a:extLst>
          </p:cNvPr>
          <p:cNvSpPr/>
          <p:nvPr/>
        </p:nvSpPr>
        <p:spPr>
          <a:xfrm>
            <a:off x="4140144" y="5680233"/>
            <a:ext cx="3470207" cy="329425"/>
          </a:xfrm>
          <a:prstGeom prst="rect">
            <a:avLst/>
          </a:prstGeom>
          <a:solidFill>
            <a:srgbClr val="022A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4" name="Graphic 43" descr="First aid kit with solid fill">
            <a:extLst>
              <a:ext uri="{FF2B5EF4-FFF2-40B4-BE49-F238E27FC236}">
                <a16:creationId xmlns:a16="http://schemas.microsoft.com/office/drawing/2014/main" id="{B937149A-8C72-0BE1-A434-5087E61205E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57287" y="5661770"/>
            <a:ext cx="312298" cy="358409"/>
          </a:xfrm>
          <a:prstGeom prst="rect">
            <a:avLst/>
          </a:prstGeom>
        </p:spPr>
      </p:pic>
      <p:pic>
        <p:nvPicPr>
          <p:cNvPr id="45" name="Graphic 44" descr="Information with solid fill">
            <a:extLst>
              <a:ext uri="{FF2B5EF4-FFF2-40B4-BE49-F238E27FC236}">
                <a16:creationId xmlns:a16="http://schemas.microsoft.com/office/drawing/2014/main" id="{1C74DE1B-6B9B-9666-6576-D148D675EF87}"/>
              </a:ext>
            </a:extLst>
          </p:cNvPr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972870" y="4540192"/>
            <a:ext cx="517480" cy="457200"/>
          </a:xfrm>
          <a:prstGeom prst="rect">
            <a:avLst/>
          </a:prstGeom>
        </p:spPr>
      </p:pic>
      <p:pic>
        <p:nvPicPr>
          <p:cNvPr id="46" name="Graphic 45" descr="Information with solid fill">
            <a:extLst>
              <a:ext uri="{FF2B5EF4-FFF2-40B4-BE49-F238E27FC236}">
                <a16:creationId xmlns:a16="http://schemas.microsoft.com/office/drawing/2014/main" id="{41BF2104-3E54-A7EB-E6CA-8DE4C587C0EC}"/>
              </a:ext>
            </a:extLst>
          </p:cNvPr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967114" y="3495427"/>
            <a:ext cx="517480" cy="457200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85E3C17C-F33E-2587-D2C0-926E830A6E89}"/>
              </a:ext>
            </a:extLst>
          </p:cNvPr>
          <p:cNvSpPr/>
          <p:nvPr/>
        </p:nvSpPr>
        <p:spPr>
          <a:xfrm>
            <a:off x="1949866" y="3674888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otential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ABBA4CA-C488-77D2-AE9C-C46CADF99768}"/>
              </a:ext>
            </a:extLst>
          </p:cNvPr>
          <p:cNvSpPr/>
          <p:nvPr/>
        </p:nvSpPr>
        <p:spPr>
          <a:xfrm>
            <a:off x="1978369" y="4704132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otential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21B5C6B-116A-5A74-E0F8-5CD9C0AB520A}"/>
              </a:ext>
            </a:extLst>
          </p:cNvPr>
          <p:cNvSpPr/>
          <p:nvPr/>
        </p:nvSpPr>
        <p:spPr>
          <a:xfrm>
            <a:off x="3651335" y="4703273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rofil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27E49C2-C8FA-11FA-83DA-7016144FC119}"/>
              </a:ext>
            </a:extLst>
          </p:cNvPr>
          <p:cNvSpPr/>
          <p:nvPr/>
        </p:nvSpPr>
        <p:spPr>
          <a:xfrm>
            <a:off x="5332652" y="4711846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Adoption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3E30505-AB3D-732F-972B-2F29BFD8155E}"/>
              </a:ext>
            </a:extLst>
          </p:cNvPr>
          <p:cNvSpPr/>
          <p:nvPr/>
        </p:nvSpPr>
        <p:spPr>
          <a:xfrm>
            <a:off x="2016924" y="5701813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otential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D7FDA057-2697-112F-2D94-A40253EA71CC}"/>
              </a:ext>
            </a:extLst>
          </p:cNvPr>
          <p:cNvSpPr/>
          <p:nvPr/>
        </p:nvSpPr>
        <p:spPr>
          <a:xfrm>
            <a:off x="5066684" y="5701813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Adoptio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A88F854-8381-0663-148E-FD2FA235F880}"/>
              </a:ext>
            </a:extLst>
          </p:cNvPr>
          <p:cNvSpPr txBox="1"/>
          <p:nvPr/>
        </p:nvSpPr>
        <p:spPr>
          <a:xfrm>
            <a:off x="2677842" y="4987052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Arial Nova Cond" panose="020B0506020202020204" pitchFamily="34" charset="0"/>
              </a:rPr>
              <a:t>45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%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5347C6C-FB27-29FD-01C8-FD16A9406570}"/>
              </a:ext>
            </a:extLst>
          </p:cNvPr>
          <p:cNvSpPr txBox="1"/>
          <p:nvPr/>
        </p:nvSpPr>
        <p:spPr>
          <a:xfrm>
            <a:off x="6082839" y="4978667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45%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EC9DF70-026F-6598-6BF0-BF50DB864C97}"/>
              </a:ext>
            </a:extLst>
          </p:cNvPr>
          <p:cNvSpPr txBox="1"/>
          <p:nvPr/>
        </p:nvSpPr>
        <p:spPr>
          <a:xfrm>
            <a:off x="4306797" y="5010584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1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13FAF68-19E3-AD24-ADF1-2EC549B5B601}"/>
              </a:ext>
            </a:extLst>
          </p:cNvPr>
          <p:cNvSpPr txBox="1"/>
          <p:nvPr/>
        </p:nvSpPr>
        <p:spPr>
          <a:xfrm>
            <a:off x="2653857" y="3969857"/>
            <a:ext cx="52253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Arial Nova Cond" panose="020B0506020202020204" pitchFamily="34" charset="0"/>
              </a:rPr>
              <a:t>4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F8DA6EC-3B97-C0CA-7BE7-2B6FB8514CDC}"/>
              </a:ext>
            </a:extLst>
          </p:cNvPr>
          <p:cNvSpPr txBox="1"/>
          <p:nvPr/>
        </p:nvSpPr>
        <p:spPr>
          <a:xfrm>
            <a:off x="5583143" y="3970555"/>
            <a:ext cx="52253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Arial Nova Cond" panose="020B0506020202020204" pitchFamily="34" charset="0"/>
              </a:rPr>
              <a:t>30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%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BB112AF-EC59-2005-85D0-FDABE70EB77B}"/>
              </a:ext>
            </a:extLst>
          </p:cNvPr>
          <p:cNvSpPr txBox="1"/>
          <p:nvPr/>
        </p:nvSpPr>
        <p:spPr>
          <a:xfrm>
            <a:off x="2817605" y="5977849"/>
            <a:ext cx="5229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Arial Nova Cond" panose="020B0506020202020204" pitchFamily="34" charset="0"/>
              </a:rPr>
              <a:t>3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8EA7D3B-2AD2-19AE-2DDE-1F771DE15D94}"/>
              </a:ext>
            </a:extLst>
          </p:cNvPr>
          <p:cNvSpPr txBox="1"/>
          <p:nvPr/>
        </p:nvSpPr>
        <p:spPr>
          <a:xfrm>
            <a:off x="5707037" y="5990672"/>
            <a:ext cx="5229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Arial Nova Cond" panose="020B0506020202020204" pitchFamily="34" charset="0"/>
              </a:rPr>
              <a:t>7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A6F9E16-EF16-4E82-FC8B-5275CE6D3913}"/>
              </a:ext>
            </a:extLst>
          </p:cNvPr>
          <p:cNvSpPr/>
          <p:nvPr/>
        </p:nvSpPr>
        <p:spPr>
          <a:xfrm>
            <a:off x="387024" y="1440286"/>
            <a:ext cx="1270195" cy="369102"/>
          </a:xfrm>
          <a:prstGeom prst="round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-LAUNCH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4D9D95D-55FA-5C8D-5BD3-5831AE5CBFB2}"/>
              </a:ext>
            </a:extLst>
          </p:cNvPr>
          <p:cNvSpPr/>
          <p:nvPr/>
        </p:nvSpPr>
        <p:spPr>
          <a:xfrm>
            <a:off x="387024" y="2587057"/>
            <a:ext cx="1280966" cy="369103"/>
          </a:xfrm>
          <a:prstGeom prst="round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netratio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714412F-EFD3-54B6-54A5-0147C7EDCF78}"/>
              </a:ext>
            </a:extLst>
          </p:cNvPr>
          <p:cNvSpPr/>
          <p:nvPr/>
        </p:nvSpPr>
        <p:spPr>
          <a:xfrm>
            <a:off x="7861942" y="1181542"/>
            <a:ext cx="3822719" cy="69046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365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>
                <a:solidFill>
                  <a:srgbClr val="3C4043"/>
                </a:solidFill>
                <a:effectLst/>
                <a:highlight>
                  <a:srgbClr val="F5F5F5"/>
                </a:highlight>
                <a:latin typeface="Roboto" panose="02000000000000000000" pitchFamily="2" charset="0"/>
              </a:rPr>
              <a:t>Prepare the market and product access to expand awareness and perscriptive power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AEF2F78-4A13-4899-93EF-B34AD9612F20}"/>
              </a:ext>
            </a:extLst>
          </p:cNvPr>
          <p:cNvSpPr/>
          <p:nvPr/>
        </p:nvSpPr>
        <p:spPr>
          <a:xfrm>
            <a:off x="7861943" y="2346271"/>
            <a:ext cx="3822718" cy="69046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365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imize the coverage </a:t>
            </a:r>
          </a:p>
          <a:p>
            <a:pPr marL="5365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rgeting the HCPs with better likelihood of prescribing innovation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D97D539-AF6F-5C77-927B-867C30398D07}"/>
              </a:ext>
            </a:extLst>
          </p:cNvPr>
          <p:cNvCxnSpPr>
            <a:cxnSpLocks/>
          </p:cNvCxnSpPr>
          <p:nvPr/>
        </p:nvCxnSpPr>
        <p:spPr>
          <a:xfrm>
            <a:off x="387024" y="2223822"/>
            <a:ext cx="11241188" cy="0"/>
          </a:xfrm>
          <a:prstGeom prst="line">
            <a:avLst/>
          </a:prstGeom>
          <a:ln w="12700">
            <a:solidFill>
              <a:srgbClr val="0460A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14EE2B-D352-B07B-525D-C37D5BE4988F}"/>
              </a:ext>
            </a:extLst>
          </p:cNvPr>
          <p:cNvCxnSpPr>
            <a:cxnSpLocks/>
          </p:cNvCxnSpPr>
          <p:nvPr/>
        </p:nvCxnSpPr>
        <p:spPr>
          <a:xfrm>
            <a:off x="361093" y="3303831"/>
            <a:ext cx="11241188" cy="0"/>
          </a:xfrm>
          <a:prstGeom prst="line">
            <a:avLst/>
          </a:prstGeom>
          <a:ln w="12700">
            <a:solidFill>
              <a:srgbClr val="0460A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B2912C35-D67F-8A0E-5E07-D32785E4F2A4}"/>
              </a:ext>
            </a:extLst>
          </p:cNvPr>
          <p:cNvSpPr/>
          <p:nvPr/>
        </p:nvSpPr>
        <p:spPr>
          <a:xfrm>
            <a:off x="1824415" y="1452839"/>
            <a:ext cx="5737599" cy="33844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D558F51-0EAB-FC8A-8119-9D35D44F950E}"/>
              </a:ext>
            </a:extLst>
          </p:cNvPr>
          <p:cNvSpPr/>
          <p:nvPr/>
        </p:nvSpPr>
        <p:spPr>
          <a:xfrm>
            <a:off x="1824416" y="1461882"/>
            <a:ext cx="3021160" cy="3232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5" name="Graphic 14" descr="Mountains with solid fill">
            <a:extLst>
              <a:ext uri="{FF2B5EF4-FFF2-40B4-BE49-F238E27FC236}">
                <a16:creationId xmlns:a16="http://schemas.microsoft.com/office/drawing/2014/main" id="{1514D1F7-DFAA-0C86-7236-DE3BC31CE7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58803" y="1406442"/>
            <a:ext cx="341338" cy="39425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DCBF3AC-E297-4DE8-DBB5-12A7C416C964}"/>
              </a:ext>
            </a:extLst>
          </p:cNvPr>
          <p:cNvSpPr/>
          <p:nvPr/>
        </p:nvSpPr>
        <p:spPr>
          <a:xfrm>
            <a:off x="1820435" y="2606802"/>
            <a:ext cx="5737599" cy="33844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0B14A4-ECDD-F689-CCAD-9A857313B026}"/>
              </a:ext>
            </a:extLst>
          </p:cNvPr>
          <p:cNvSpPr/>
          <p:nvPr/>
        </p:nvSpPr>
        <p:spPr>
          <a:xfrm>
            <a:off x="1820436" y="2605076"/>
            <a:ext cx="2020555" cy="33552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9" name="Graphic 18" descr="Mountains with solid fill">
            <a:extLst>
              <a:ext uri="{FF2B5EF4-FFF2-40B4-BE49-F238E27FC236}">
                <a16:creationId xmlns:a16="http://schemas.microsoft.com/office/drawing/2014/main" id="{2661FA7C-4D12-4613-3CC9-9B5E27F71D0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54823" y="2581671"/>
            <a:ext cx="341338" cy="394252"/>
          </a:xfrm>
          <a:prstGeom prst="rect">
            <a:avLst/>
          </a:prstGeom>
        </p:spPr>
      </p:pic>
      <p:pic>
        <p:nvPicPr>
          <p:cNvPr id="20" name="Graphic 19" descr="User with solid fill">
            <a:extLst>
              <a:ext uri="{FF2B5EF4-FFF2-40B4-BE49-F238E27FC236}">
                <a16:creationId xmlns:a16="http://schemas.microsoft.com/office/drawing/2014/main" id="{7BE11DD3-5E5D-3FBF-8A76-BBC88610AA6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3866298" y="2582779"/>
            <a:ext cx="349338" cy="39425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3F98470D-6A51-7012-9EAD-1FE4F29E9277}"/>
              </a:ext>
            </a:extLst>
          </p:cNvPr>
          <p:cNvSpPr/>
          <p:nvPr/>
        </p:nvSpPr>
        <p:spPr>
          <a:xfrm>
            <a:off x="5821726" y="2613709"/>
            <a:ext cx="1736307" cy="331540"/>
          </a:xfrm>
          <a:prstGeom prst="rect">
            <a:avLst/>
          </a:prstGeom>
          <a:solidFill>
            <a:srgbClr val="27531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3" name="Graphic 22" descr="Information with solid fill">
            <a:extLst>
              <a:ext uri="{FF2B5EF4-FFF2-40B4-BE49-F238E27FC236}">
                <a16:creationId xmlns:a16="http://schemas.microsoft.com/office/drawing/2014/main" id="{727102CD-BC0E-AF8F-1D18-2A9D03B9E673}"/>
              </a:ext>
            </a:extLst>
          </p:cNvPr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916421" y="2462903"/>
            <a:ext cx="517480" cy="457200"/>
          </a:xfrm>
          <a:prstGeom prst="rect">
            <a:avLst/>
          </a:prstGeom>
        </p:spPr>
      </p:pic>
      <p:pic>
        <p:nvPicPr>
          <p:cNvPr id="24" name="Graphic 23" descr="Information with solid fill">
            <a:extLst>
              <a:ext uri="{FF2B5EF4-FFF2-40B4-BE49-F238E27FC236}">
                <a16:creationId xmlns:a16="http://schemas.microsoft.com/office/drawing/2014/main" id="{4F71399B-AE2E-EDA3-E265-D0C5B6D47D35}"/>
              </a:ext>
            </a:extLst>
          </p:cNvPr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910665" y="1298392"/>
            <a:ext cx="517480" cy="4572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DDC9BE8B-E13A-B709-E8CE-64470661123D}"/>
              </a:ext>
            </a:extLst>
          </p:cNvPr>
          <p:cNvSpPr/>
          <p:nvPr/>
        </p:nvSpPr>
        <p:spPr>
          <a:xfrm>
            <a:off x="1893417" y="1477853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otential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930E019-AB44-08FD-16C8-C1C152C7868C}"/>
              </a:ext>
            </a:extLst>
          </p:cNvPr>
          <p:cNvSpPr/>
          <p:nvPr/>
        </p:nvSpPr>
        <p:spPr>
          <a:xfrm>
            <a:off x="1921920" y="2626843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otential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53DBD63-AFEE-2385-C620-5772057DF3E4}"/>
              </a:ext>
            </a:extLst>
          </p:cNvPr>
          <p:cNvSpPr/>
          <p:nvPr/>
        </p:nvSpPr>
        <p:spPr>
          <a:xfrm>
            <a:off x="3612428" y="2615432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rofil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D8B9687-8905-11DF-C784-F6300E0027DF}"/>
              </a:ext>
            </a:extLst>
          </p:cNvPr>
          <p:cNvSpPr/>
          <p:nvPr/>
        </p:nvSpPr>
        <p:spPr>
          <a:xfrm>
            <a:off x="5798717" y="2634557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Innova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F931FE0-ABF8-8916-53F4-E0C1FB0A2001}"/>
              </a:ext>
            </a:extLst>
          </p:cNvPr>
          <p:cNvSpPr txBox="1"/>
          <p:nvPr/>
        </p:nvSpPr>
        <p:spPr>
          <a:xfrm>
            <a:off x="2717921" y="2920852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4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6475B9C-8526-5F84-4652-F56FADDDAD16}"/>
              </a:ext>
            </a:extLst>
          </p:cNvPr>
          <p:cNvSpPr txBox="1"/>
          <p:nvPr/>
        </p:nvSpPr>
        <p:spPr>
          <a:xfrm>
            <a:off x="6427077" y="2901378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4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0F7FA0F-CA79-5961-9EF4-CD6763452C11}"/>
              </a:ext>
            </a:extLst>
          </p:cNvPr>
          <p:cNvSpPr txBox="1"/>
          <p:nvPr/>
        </p:nvSpPr>
        <p:spPr>
          <a:xfrm>
            <a:off x="4163189" y="2942377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1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CA5ED03-C3B6-29AA-3EAF-424E58B7CA48}"/>
              </a:ext>
            </a:extLst>
          </p:cNvPr>
          <p:cNvSpPr txBox="1"/>
          <p:nvPr/>
        </p:nvSpPr>
        <p:spPr>
          <a:xfrm>
            <a:off x="3262011" y="1770416"/>
            <a:ext cx="52253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5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BDB3456-299C-66F1-43FB-688135A5285C}"/>
              </a:ext>
            </a:extLst>
          </p:cNvPr>
          <p:cNvSpPr txBox="1"/>
          <p:nvPr/>
        </p:nvSpPr>
        <p:spPr>
          <a:xfrm>
            <a:off x="6484249" y="1762555"/>
            <a:ext cx="52253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4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8960E2E-8738-338D-C3A9-C17E3F988AA1}"/>
              </a:ext>
            </a:extLst>
          </p:cNvPr>
          <p:cNvSpPr/>
          <p:nvPr/>
        </p:nvSpPr>
        <p:spPr>
          <a:xfrm>
            <a:off x="4845575" y="2601945"/>
            <a:ext cx="998834" cy="334144"/>
          </a:xfrm>
          <a:prstGeom prst="rect">
            <a:avLst/>
          </a:prstGeom>
          <a:solidFill>
            <a:srgbClr val="022A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      Adoptio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B0015A9-1454-FBDE-38FC-497DF539CE60}"/>
              </a:ext>
            </a:extLst>
          </p:cNvPr>
          <p:cNvSpPr txBox="1"/>
          <p:nvPr/>
        </p:nvSpPr>
        <p:spPr>
          <a:xfrm>
            <a:off x="5198019" y="2953234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1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488C69F-A8B3-6B93-B362-6ABA834073D3}"/>
              </a:ext>
            </a:extLst>
          </p:cNvPr>
          <p:cNvSpPr/>
          <p:nvPr/>
        </p:nvSpPr>
        <p:spPr>
          <a:xfrm>
            <a:off x="4830022" y="3655705"/>
            <a:ext cx="1736307" cy="331540"/>
          </a:xfrm>
          <a:prstGeom prst="rect">
            <a:avLst/>
          </a:prstGeom>
          <a:solidFill>
            <a:srgbClr val="022A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0" name="Graphic 69" descr="First aid kit with solid fill">
            <a:extLst>
              <a:ext uri="{FF2B5EF4-FFF2-40B4-BE49-F238E27FC236}">
                <a16:creationId xmlns:a16="http://schemas.microsoft.com/office/drawing/2014/main" id="{5C2CB374-48CC-29C6-E705-B41F042706F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21118" y="3640597"/>
            <a:ext cx="312298" cy="358409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B8AE97B3-AE73-7498-6B93-B20475884E15}"/>
              </a:ext>
            </a:extLst>
          </p:cNvPr>
          <p:cNvSpPr/>
          <p:nvPr/>
        </p:nvSpPr>
        <p:spPr>
          <a:xfrm>
            <a:off x="4888905" y="3668352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Adoption</a:t>
            </a:r>
          </a:p>
        </p:txBody>
      </p:sp>
      <p:pic>
        <p:nvPicPr>
          <p:cNvPr id="72" name="Graphic 71" descr="User with solid fill">
            <a:extLst>
              <a:ext uri="{FF2B5EF4-FFF2-40B4-BE49-F238E27FC236}">
                <a16:creationId xmlns:a16="http://schemas.microsoft.com/office/drawing/2014/main" id="{193C5AD7-4322-2F1E-4DA3-951CDC2DBE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3846127" y="3613774"/>
            <a:ext cx="349338" cy="394250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F1505BB4-690E-C3AA-825E-ADB884B0B257}"/>
              </a:ext>
            </a:extLst>
          </p:cNvPr>
          <p:cNvSpPr/>
          <p:nvPr/>
        </p:nvSpPr>
        <p:spPr>
          <a:xfrm>
            <a:off x="3553686" y="3678682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rofile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0477B33-DDFA-20D8-4F2F-E998860E37FF}"/>
              </a:ext>
            </a:extLst>
          </p:cNvPr>
          <p:cNvSpPr txBox="1"/>
          <p:nvPr/>
        </p:nvSpPr>
        <p:spPr>
          <a:xfrm>
            <a:off x="4069517" y="3986761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1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8D9F0ED7-E02A-CAB0-1FBE-F6A5C51CE4FF}"/>
              </a:ext>
            </a:extLst>
          </p:cNvPr>
          <p:cNvSpPr/>
          <p:nvPr/>
        </p:nvSpPr>
        <p:spPr>
          <a:xfrm>
            <a:off x="5765787" y="1448209"/>
            <a:ext cx="1824068" cy="343078"/>
          </a:xfrm>
          <a:prstGeom prst="rect">
            <a:avLst/>
          </a:prstGeom>
          <a:solidFill>
            <a:srgbClr val="27531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9FDC334-56E9-3288-2DFE-57758FAB5D2F}"/>
              </a:ext>
            </a:extLst>
          </p:cNvPr>
          <p:cNvSpPr/>
          <p:nvPr/>
        </p:nvSpPr>
        <p:spPr>
          <a:xfrm>
            <a:off x="5830538" y="1469057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Innovation</a:t>
            </a:r>
          </a:p>
        </p:txBody>
      </p:sp>
      <p:pic>
        <p:nvPicPr>
          <p:cNvPr id="78" name="Graphic 77" descr="User with solid fill">
            <a:extLst>
              <a:ext uri="{FF2B5EF4-FFF2-40B4-BE49-F238E27FC236}">
                <a16:creationId xmlns:a16="http://schemas.microsoft.com/office/drawing/2014/main" id="{D434FDBF-9C42-DBC5-D0AE-C2B826B2A1A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4814900" y="1417929"/>
            <a:ext cx="349338" cy="394250"/>
          </a:xfrm>
          <a:prstGeom prst="rect">
            <a:avLst/>
          </a:prstGeom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5C78EE2E-5BDF-4867-D293-0F6AE232F053}"/>
              </a:ext>
            </a:extLst>
          </p:cNvPr>
          <p:cNvSpPr/>
          <p:nvPr/>
        </p:nvSpPr>
        <p:spPr>
          <a:xfrm>
            <a:off x="4561030" y="1461468"/>
            <a:ext cx="1824067" cy="289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Profile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B89E3F7-D739-666F-2E74-C582B3F6A58A}"/>
              </a:ext>
            </a:extLst>
          </p:cNvPr>
          <p:cNvSpPr txBox="1"/>
          <p:nvPr/>
        </p:nvSpPr>
        <p:spPr>
          <a:xfrm>
            <a:off x="5111791" y="1777527"/>
            <a:ext cx="4745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Arial Nova Cond" panose="020B0506020202020204" pitchFamily="34" charset="0"/>
              </a:rPr>
              <a:t>1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0%</a:t>
            </a: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4" name="Graphic 33" descr="DNA with solid fill">
            <a:extLst>
              <a:ext uri="{FF2B5EF4-FFF2-40B4-BE49-F238E27FC236}">
                <a16:creationId xmlns:a16="http://schemas.microsoft.com/office/drawing/2014/main" id="{E2BEBC8F-3CFF-39E8-4A45-E0BFEF0AAE8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9532624">
            <a:off x="5942800" y="2588899"/>
            <a:ext cx="351019" cy="351019"/>
          </a:xfrm>
          <a:prstGeom prst="rect">
            <a:avLst/>
          </a:prstGeom>
        </p:spPr>
      </p:pic>
      <p:pic>
        <p:nvPicPr>
          <p:cNvPr id="22" name="Graphic 21" descr="First aid kit with solid fill">
            <a:extLst>
              <a:ext uri="{FF2B5EF4-FFF2-40B4-BE49-F238E27FC236}">
                <a16:creationId xmlns:a16="http://schemas.microsoft.com/office/drawing/2014/main" id="{E426C23C-4B3D-BAE2-E351-10892933B88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830022" y="2593549"/>
            <a:ext cx="312298" cy="358409"/>
          </a:xfrm>
          <a:prstGeom prst="rect">
            <a:avLst/>
          </a:prstGeom>
        </p:spPr>
      </p:pic>
      <p:pic>
        <p:nvPicPr>
          <p:cNvPr id="53" name="Graphic 52" descr="DNA with solid fill">
            <a:extLst>
              <a:ext uri="{FF2B5EF4-FFF2-40B4-BE49-F238E27FC236}">
                <a16:creationId xmlns:a16="http://schemas.microsoft.com/office/drawing/2014/main" id="{6674570E-F7CF-9AB4-1525-7EE33DF48EE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9532624">
            <a:off x="5921073" y="1455401"/>
            <a:ext cx="351019" cy="351019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91BF7AD7-431E-BFB5-392E-71B5A0E5D6D3}"/>
              </a:ext>
            </a:extLst>
          </p:cNvPr>
          <p:cNvSpPr/>
          <p:nvPr/>
        </p:nvSpPr>
        <p:spPr>
          <a:xfrm>
            <a:off x="6483526" y="3658438"/>
            <a:ext cx="1137069" cy="328324"/>
          </a:xfrm>
          <a:prstGeom prst="rect">
            <a:avLst/>
          </a:prstGeom>
          <a:solidFill>
            <a:srgbClr val="27531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DA2CBA72-7D20-6211-0E74-608217381FD8}"/>
              </a:ext>
            </a:extLst>
          </p:cNvPr>
          <p:cNvSpPr/>
          <p:nvPr/>
        </p:nvSpPr>
        <p:spPr>
          <a:xfrm>
            <a:off x="6666570" y="3681495"/>
            <a:ext cx="1067362" cy="307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Arial" pitchFamily="34" charset="0"/>
              </a:rPr>
              <a:t>Innovation</a:t>
            </a:r>
          </a:p>
        </p:txBody>
      </p:sp>
      <p:pic>
        <p:nvPicPr>
          <p:cNvPr id="85" name="Graphic 84" descr="DNA with solid fill">
            <a:extLst>
              <a:ext uri="{FF2B5EF4-FFF2-40B4-BE49-F238E27FC236}">
                <a16:creationId xmlns:a16="http://schemas.microsoft.com/office/drawing/2014/main" id="{9D8B6B4C-1965-46C4-3D20-E3B01E05646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9532624">
            <a:off x="6453867" y="3624511"/>
            <a:ext cx="372776" cy="372776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523EBA9D-C30A-9904-8ACC-8E6A41AFA93C}"/>
              </a:ext>
            </a:extLst>
          </p:cNvPr>
          <p:cNvSpPr txBox="1"/>
          <p:nvPr/>
        </p:nvSpPr>
        <p:spPr>
          <a:xfrm>
            <a:off x="6771719" y="3981281"/>
            <a:ext cx="52253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Arial Nova Cond" panose="020B0506020202020204" pitchFamily="34" charset="0"/>
              </a:rPr>
              <a:t>20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%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50336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>
            <a:extLst>
              <a:ext uri="{FF2B5EF4-FFF2-40B4-BE49-F238E27FC236}">
                <a16:creationId xmlns:a16="http://schemas.microsoft.com/office/drawing/2014/main" id="{CF77CFE2-038D-7104-8971-0E15129099CD}"/>
              </a:ext>
            </a:extLst>
          </p:cNvPr>
          <p:cNvSpPr txBox="1">
            <a:spLocks/>
          </p:cNvSpPr>
          <p:nvPr/>
        </p:nvSpPr>
        <p:spPr>
          <a:xfrm>
            <a:off x="440384" y="239503"/>
            <a:ext cx="11512326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iering should align with the brand strategy while considering the </a:t>
            </a:r>
            <a:r>
              <a:rPr kumimoji="0" lang="en-IN" sz="30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HCP’s current adoption </a:t>
            </a:r>
            <a:r>
              <a:rPr kumimoji="0" lang="en-IN" sz="3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&amp; </a:t>
            </a:r>
            <a:r>
              <a:rPr kumimoji="0" lang="en-IN" sz="30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Innovation stage</a:t>
            </a:r>
            <a:br>
              <a:rPr kumimoji="0" lang="en-IN" sz="3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</a:br>
            <a:endParaRPr kumimoji="0" lang="en-IN" sz="3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1526D7C-0ABA-5962-E960-BF4617E5DC98}"/>
              </a:ext>
            </a:extLst>
          </p:cNvPr>
          <p:cNvGrpSpPr/>
          <p:nvPr/>
        </p:nvGrpSpPr>
        <p:grpSpPr>
          <a:xfrm>
            <a:off x="206148" y="2281068"/>
            <a:ext cx="6575655" cy="3760503"/>
            <a:chOff x="45720" y="1530752"/>
            <a:chExt cx="8981168" cy="4383106"/>
          </a:xfrm>
        </p:grpSpPr>
        <p:sp>
          <p:nvSpPr>
            <p:cNvPr id="29" name="Google Shape;183;p17">
              <a:extLst>
                <a:ext uri="{FF2B5EF4-FFF2-40B4-BE49-F238E27FC236}">
                  <a16:creationId xmlns:a16="http://schemas.microsoft.com/office/drawing/2014/main" id="{92EF277F-25BA-58AB-5CE6-4C45E6B3BCBF}"/>
                </a:ext>
              </a:extLst>
            </p:cNvPr>
            <p:cNvSpPr/>
            <p:nvPr/>
          </p:nvSpPr>
          <p:spPr>
            <a:xfrm>
              <a:off x="160751" y="4643733"/>
              <a:ext cx="4484087" cy="1270125"/>
            </a:xfrm>
            <a:custGeom>
              <a:avLst/>
              <a:gdLst/>
              <a:ahLst/>
              <a:cxnLst/>
              <a:rect l="l" t="t" r="r" b="b"/>
              <a:pathLst>
                <a:path w="150091" h="50805" extrusionOk="0">
                  <a:moveTo>
                    <a:pt x="139268" y="1"/>
                  </a:moveTo>
                  <a:lnTo>
                    <a:pt x="12204" y="29683"/>
                  </a:lnTo>
                  <a:lnTo>
                    <a:pt x="0" y="50805"/>
                  </a:lnTo>
                  <a:lnTo>
                    <a:pt x="150091" y="18741"/>
                  </a:lnTo>
                  <a:lnTo>
                    <a:pt x="139268" y="1"/>
                  </a:lnTo>
                  <a:close/>
                </a:path>
              </a:pathLst>
            </a:custGeom>
            <a:solidFill>
              <a:srgbClr val="39A5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</a:endParaRPr>
            </a:p>
          </p:txBody>
        </p:sp>
        <p:sp>
          <p:nvSpPr>
            <p:cNvPr id="30" name="Google Shape;157;p17">
              <a:extLst>
                <a:ext uri="{FF2B5EF4-FFF2-40B4-BE49-F238E27FC236}">
                  <a16:creationId xmlns:a16="http://schemas.microsoft.com/office/drawing/2014/main" id="{9FD1EFFF-BE33-86E5-DB40-644F68206B98}"/>
                </a:ext>
              </a:extLst>
            </p:cNvPr>
            <p:cNvSpPr/>
            <p:nvPr/>
          </p:nvSpPr>
          <p:spPr>
            <a:xfrm>
              <a:off x="1794795" y="2152552"/>
              <a:ext cx="1146600" cy="742375"/>
            </a:xfrm>
            <a:custGeom>
              <a:avLst/>
              <a:gdLst/>
              <a:ahLst/>
              <a:cxnLst/>
              <a:rect l="l" t="t" r="r" b="b"/>
              <a:pathLst>
                <a:path w="45864" h="29695" extrusionOk="0">
                  <a:moveTo>
                    <a:pt x="27754" y="1"/>
                  </a:moveTo>
                  <a:lnTo>
                    <a:pt x="10823" y="10943"/>
                  </a:lnTo>
                  <a:lnTo>
                    <a:pt x="1" y="29695"/>
                  </a:lnTo>
                  <a:lnTo>
                    <a:pt x="45864" y="1"/>
                  </a:lnTo>
                  <a:close/>
                </a:path>
              </a:pathLst>
            </a:custGeom>
            <a:solidFill>
              <a:srgbClr val="78006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</a:endParaRPr>
            </a:p>
          </p:txBody>
        </p:sp>
        <p:sp>
          <p:nvSpPr>
            <p:cNvPr id="31" name="Google Shape;158;p17">
              <a:extLst>
                <a:ext uri="{FF2B5EF4-FFF2-40B4-BE49-F238E27FC236}">
                  <a16:creationId xmlns:a16="http://schemas.microsoft.com/office/drawing/2014/main" id="{829DE6A4-C6DE-6703-D93E-132A2F1D51CC}"/>
                </a:ext>
              </a:extLst>
            </p:cNvPr>
            <p:cNvSpPr/>
            <p:nvPr/>
          </p:nvSpPr>
          <p:spPr>
            <a:xfrm>
              <a:off x="1366170" y="2583852"/>
              <a:ext cx="2003550" cy="1053450"/>
            </a:xfrm>
            <a:custGeom>
              <a:avLst/>
              <a:gdLst/>
              <a:ahLst/>
              <a:cxnLst/>
              <a:rect l="l" t="t" r="r" b="b"/>
              <a:pathLst>
                <a:path w="80142" h="42138" extrusionOk="0">
                  <a:moveTo>
                    <a:pt x="72962" y="1"/>
                  </a:moveTo>
                  <a:lnTo>
                    <a:pt x="10823" y="23385"/>
                  </a:lnTo>
                  <a:lnTo>
                    <a:pt x="1" y="42137"/>
                  </a:lnTo>
                  <a:lnTo>
                    <a:pt x="80142" y="12443"/>
                  </a:lnTo>
                  <a:lnTo>
                    <a:pt x="72962" y="1"/>
                  </a:lnTo>
                  <a:close/>
                </a:path>
              </a:pathLst>
            </a:custGeom>
            <a:solidFill>
              <a:srgbClr val="02305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</a:endParaRPr>
            </a:p>
          </p:txBody>
        </p:sp>
        <p:sp>
          <p:nvSpPr>
            <p:cNvPr id="32" name="Google Shape;159;p17">
              <a:extLst>
                <a:ext uri="{FF2B5EF4-FFF2-40B4-BE49-F238E27FC236}">
                  <a16:creationId xmlns:a16="http://schemas.microsoft.com/office/drawing/2014/main" id="{8B48B92D-CD53-5A4E-6EF3-12E4FB97116E}"/>
                </a:ext>
              </a:extLst>
            </p:cNvPr>
            <p:cNvSpPr/>
            <p:nvPr/>
          </p:nvSpPr>
          <p:spPr>
            <a:xfrm>
              <a:off x="1794795" y="1530752"/>
              <a:ext cx="1574925" cy="1364175"/>
            </a:xfrm>
            <a:custGeom>
              <a:avLst/>
              <a:gdLst/>
              <a:ahLst/>
              <a:cxnLst/>
              <a:rect l="l" t="t" r="r" b="b"/>
              <a:pathLst>
                <a:path w="62997" h="54567" extrusionOk="0">
                  <a:moveTo>
                    <a:pt x="31493" y="1"/>
                  </a:moveTo>
                  <a:lnTo>
                    <a:pt x="10823" y="35815"/>
                  </a:lnTo>
                  <a:lnTo>
                    <a:pt x="1" y="54567"/>
                  </a:lnTo>
                  <a:lnTo>
                    <a:pt x="62997" y="54567"/>
                  </a:lnTo>
                  <a:lnTo>
                    <a:pt x="52174" y="35815"/>
                  </a:lnTo>
                  <a:lnTo>
                    <a:pt x="31493" y="1"/>
                  </a:lnTo>
                  <a:close/>
                </a:path>
              </a:pathLst>
            </a:custGeom>
            <a:solidFill>
              <a:srgbClr val="022A4A"/>
            </a:solidFill>
            <a:ln>
              <a:noFill/>
            </a:ln>
          </p:spPr>
          <p:txBody>
            <a:bodyPr spcFirstLastPara="1" wrap="square" lIns="91425" tIns="731500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Loyalist</a:t>
              </a: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  <p:sp>
          <p:nvSpPr>
            <p:cNvPr id="33" name="Google Shape;171;p17">
              <a:extLst>
                <a:ext uri="{FF2B5EF4-FFF2-40B4-BE49-F238E27FC236}">
                  <a16:creationId xmlns:a16="http://schemas.microsoft.com/office/drawing/2014/main" id="{A136C7A0-9298-AE19-29F6-5D6EB9B2B6E1}"/>
                </a:ext>
              </a:extLst>
            </p:cNvPr>
            <p:cNvSpPr txBox="1"/>
            <p:nvPr/>
          </p:nvSpPr>
          <p:spPr>
            <a:xfrm>
              <a:off x="3283851" y="2323378"/>
              <a:ext cx="4248592" cy="5715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Prescribes our brand  for the </a:t>
              </a:r>
              <a:r>
                <a:rPr kumimoji="0" lang="e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majority</a:t>
              </a:r>
              <a:r>
                <a:rPr kumimoji="0" lang="en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 of all eligible patients and is vocal about their support</a:t>
              </a:r>
              <a:endPara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rial Nova Cond" panose="020B0506020202020204" pitchFamily="34" charset="0"/>
                <a:ea typeface="Roboto"/>
                <a:cs typeface="Roboto"/>
                <a:sym typeface="Roboto"/>
              </a:endParaRPr>
            </a:p>
          </p:txBody>
        </p:sp>
        <p:sp>
          <p:nvSpPr>
            <p:cNvPr id="34" name="Google Shape;174;p17">
              <a:extLst>
                <a:ext uri="{FF2B5EF4-FFF2-40B4-BE49-F238E27FC236}">
                  <a16:creationId xmlns:a16="http://schemas.microsoft.com/office/drawing/2014/main" id="{070F2178-487F-F069-CA07-B1838AE8C83B}"/>
                </a:ext>
              </a:extLst>
            </p:cNvPr>
            <p:cNvSpPr/>
            <p:nvPr/>
          </p:nvSpPr>
          <p:spPr>
            <a:xfrm>
              <a:off x="937845" y="3168452"/>
              <a:ext cx="2860500" cy="1210900"/>
            </a:xfrm>
            <a:custGeom>
              <a:avLst/>
              <a:gdLst/>
              <a:ahLst/>
              <a:cxnLst/>
              <a:rect l="l" t="t" r="r" b="b"/>
              <a:pathLst>
                <a:path w="114420" h="48436" extrusionOk="0">
                  <a:moveTo>
                    <a:pt x="103597" y="1"/>
                  </a:moveTo>
                  <a:lnTo>
                    <a:pt x="10823" y="29695"/>
                  </a:lnTo>
                  <a:lnTo>
                    <a:pt x="1" y="48435"/>
                  </a:lnTo>
                  <a:lnTo>
                    <a:pt x="114420" y="18753"/>
                  </a:lnTo>
                  <a:lnTo>
                    <a:pt x="103597" y="1"/>
                  </a:lnTo>
                  <a:close/>
                </a:path>
              </a:pathLst>
            </a:custGeom>
            <a:solidFill>
              <a:srgbClr val="03487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</a:endParaRPr>
            </a:p>
          </p:txBody>
        </p:sp>
        <p:sp>
          <p:nvSpPr>
            <p:cNvPr id="35" name="Google Shape;175;p17">
              <a:extLst>
                <a:ext uri="{FF2B5EF4-FFF2-40B4-BE49-F238E27FC236}">
                  <a16:creationId xmlns:a16="http://schemas.microsoft.com/office/drawing/2014/main" id="{A462E444-0B08-CE55-CB07-AB23B1B95B8F}"/>
                </a:ext>
              </a:extLst>
            </p:cNvPr>
            <p:cNvSpPr/>
            <p:nvPr/>
          </p:nvSpPr>
          <p:spPr>
            <a:xfrm>
              <a:off x="1366170" y="3168452"/>
              <a:ext cx="2432175" cy="468850"/>
            </a:xfrm>
            <a:custGeom>
              <a:avLst/>
              <a:gdLst/>
              <a:ahLst/>
              <a:cxnLst/>
              <a:rect l="l" t="t" r="r" b="b"/>
              <a:pathLst>
                <a:path w="97287" h="18754" extrusionOk="0">
                  <a:moveTo>
                    <a:pt x="10823" y="1"/>
                  </a:moveTo>
                  <a:lnTo>
                    <a:pt x="1" y="18753"/>
                  </a:lnTo>
                  <a:lnTo>
                    <a:pt x="97287" y="18753"/>
                  </a:lnTo>
                  <a:lnTo>
                    <a:pt x="86464" y="1"/>
                  </a:lnTo>
                  <a:close/>
                </a:path>
              </a:pathLst>
            </a:custGeom>
            <a:solidFill>
              <a:srgbClr val="033E6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Expansion</a:t>
              </a: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  <p:sp>
          <p:nvSpPr>
            <p:cNvPr id="36" name="Google Shape;180;p17">
              <a:extLst>
                <a:ext uri="{FF2B5EF4-FFF2-40B4-BE49-F238E27FC236}">
                  <a16:creationId xmlns:a16="http://schemas.microsoft.com/office/drawing/2014/main" id="{6DCF504B-2689-169A-01D3-F023D7CD7B6F}"/>
                </a:ext>
              </a:extLst>
            </p:cNvPr>
            <p:cNvSpPr txBox="1"/>
            <p:nvPr/>
          </p:nvSpPr>
          <p:spPr>
            <a:xfrm>
              <a:off x="3656029" y="3099473"/>
              <a:ext cx="3504238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000" b="0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Prescribes for </a:t>
              </a:r>
              <a:r>
                <a:rPr kumimoji="0" lang="en" sz="1600" b="1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most</a:t>
              </a:r>
              <a:r>
                <a:rPr kumimoji="0" lang="en" sz="1000" b="0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 eligible patients</a:t>
              </a: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rial Nova Cond" panose="020B0506020202020204" pitchFamily="34" charset="0"/>
                <a:ea typeface="Roboto"/>
                <a:cs typeface="Roboto"/>
                <a:sym typeface="Roboto"/>
              </a:endParaRPr>
            </a:p>
          </p:txBody>
        </p:sp>
        <p:sp>
          <p:nvSpPr>
            <p:cNvPr id="37" name="Google Shape;183;p17">
              <a:extLst>
                <a:ext uri="{FF2B5EF4-FFF2-40B4-BE49-F238E27FC236}">
                  <a16:creationId xmlns:a16="http://schemas.microsoft.com/office/drawing/2014/main" id="{E8BBB64B-6225-D84D-DA67-B9CD45CBE3A8}"/>
                </a:ext>
              </a:extLst>
            </p:cNvPr>
            <p:cNvSpPr/>
            <p:nvPr/>
          </p:nvSpPr>
          <p:spPr>
            <a:xfrm>
              <a:off x="474695" y="3910802"/>
              <a:ext cx="3752275" cy="1270125"/>
            </a:xfrm>
            <a:custGeom>
              <a:avLst/>
              <a:gdLst/>
              <a:ahLst/>
              <a:cxnLst/>
              <a:rect l="l" t="t" r="r" b="b"/>
              <a:pathLst>
                <a:path w="150091" h="50805" extrusionOk="0">
                  <a:moveTo>
                    <a:pt x="139268" y="1"/>
                  </a:moveTo>
                  <a:lnTo>
                    <a:pt x="12204" y="29683"/>
                  </a:lnTo>
                  <a:lnTo>
                    <a:pt x="0" y="50805"/>
                  </a:lnTo>
                  <a:lnTo>
                    <a:pt x="150091" y="18741"/>
                  </a:lnTo>
                  <a:lnTo>
                    <a:pt x="139268" y="1"/>
                  </a:lnTo>
                  <a:close/>
                </a:path>
              </a:pathLst>
            </a:custGeom>
            <a:solidFill>
              <a:srgbClr val="0460A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</a:endParaRPr>
            </a:p>
          </p:txBody>
        </p:sp>
        <p:sp>
          <p:nvSpPr>
            <p:cNvPr id="38" name="Google Shape;184;p17">
              <a:extLst>
                <a:ext uri="{FF2B5EF4-FFF2-40B4-BE49-F238E27FC236}">
                  <a16:creationId xmlns:a16="http://schemas.microsoft.com/office/drawing/2014/main" id="{89910C2B-8996-3067-ED95-2E813228CADA}"/>
                </a:ext>
              </a:extLst>
            </p:cNvPr>
            <p:cNvSpPr/>
            <p:nvPr/>
          </p:nvSpPr>
          <p:spPr>
            <a:xfrm>
              <a:off x="937545" y="3910789"/>
              <a:ext cx="3289425" cy="468550"/>
            </a:xfrm>
            <a:custGeom>
              <a:avLst/>
              <a:gdLst/>
              <a:ahLst/>
              <a:cxnLst/>
              <a:rect l="l" t="t" r="r" b="b"/>
              <a:pathLst>
                <a:path w="131577" h="18742" extrusionOk="0">
                  <a:moveTo>
                    <a:pt x="10823" y="1"/>
                  </a:moveTo>
                  <a:lnTo>
                    <a:pt x="1" y="18741"/>
                  </a:lnTo>
                  <a:lnTo>
                    <a:pt x="131577" y="18741"/>
                  </a:lnTo>
                  <a:lnTo>
                    <a:pt x="120754" y="1"/>
                  </a:lnTo>
                  <a:close/>
                </a:path>
              </a:pathLst>
            </a:custGeom>
            <a:solidFill>
              <a:srgbClr val="04599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Adoption</a:t>
              </a: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  <p:sp>
          <p:nvSpPr>
            <p:cNvPr id="39" name="Google Shape;185;p17">
              <a:extLst>
                <a:ext uri="{FF2B5EF4-FFF2-40B4-BE49-F238E27FC236}">
                  <a16:creationId xmlns:a16="http://schemas.microsoft.com/office/drawing/2014/main" id="{9567D906-143C-3895-BD71-57D0EC4F1B33}"/>
                </a:ext>
              </a:extLst>
            </p:cNvPr>
            <p:cNvSpPr/>
            <p:nvPr/>
          </p:nvSpPr>
          <p:spPr>
            <a:xfrm>
              <a:off x="1562156" y="3224372"/>
              <a:ext cx="353645" cy="354586"/>
            </a:xfrm>
            <a:custGeom>
              <a:avLst/>
              <a:gdLst/>
              <a:ahLst/>
              <a:cxnLst/>
              <a:rect l="l" t="t" r="r" b="b"/>
              <a:pathLst>
                <a:path w="11658" h="11689" extrusionOk="0">
                  <a:moveTo>
                    <a:pt x="7877" y="1386"/>
                  </a:moveTo>
                  <a:cubicBezTo>
                    <a:pt x="9232" y="1386"/>
                    <a:pt x="10303" y="2458"/>
                    <a:pt x="10303" y="3781"/>
                  </a:cubicBezTo>
                  <a:lnTo>
                    <a:pt x="10303" y="4883"/>
                  </a:lnTo>
                  <a:cubicBezTo>
                    <a:pt x="10240" y="4883"/>
                    <a:pt x="10209" y="4946"/>
                    <a:pt x="10177" y="4946"/>
                  </a:cubicBezTo>
                  <a:cubicBezTo>
                    <a:pt x="10019" y="4190"/>
                    <a:pt x="9704" y="3529"/>
                    <a:pt x="9200" y="2962"/>
                  </a:cubicBezTo>
                  <a:lnTo>
                    <a:pt x="7720" y="4442"/>
                  </a:lnTo>
                  <a:cubicBezTo>
                    <a:pt x="8192" y="5072"/>
                    <a:pt x="8318" y="5860"/>
                    <a:pt x="8098" y="6648"/>
                  </a:cubicBezTo>
                  <a:cubicBezTo>
                    <a:pt x="8003" y="6868"/>
                    <a:pt x="7877" y="7057"/>
                    <a:pt x="7720" y="7278"/>
                  </a:cubicBezTo>
                  <a:lnTo>
                    <a:pt x="9200" y="8727"/>
                  </a:lnTo>
                  <a:cubicBezTo>
                    <a:pt x="9673" y="8160"/>
                    <a:pt x="10019" y="7498"/>
                    <a:pt x="10177" y="6742"/>
                  </a:cubicBezTo>
                  <a:cubicBezTo>
                    <a:pt x="10209" y="6742"/>
                    <a:pt x="10240" y="6805"/>
                    <a:pt x="10303" y="6805"/>
                  </a:cubicBezTo>
                  <a:lnTo>
                    <a:pt x="10303" y="7908"/>
                  </a:lnTo>
                  <a:cubicBezTo>
                    <a:pt x="10303" y="9231"/>
                    <a:pt x="9232" y="10302"/>
                    <a:pt x="7877" y="10302"/>
                  </a:cubicBezTo>
                  <a:lnTo>
                    <a:pt x="6774" y="10302"/>
                  </a:lnTo>
                  <a:cubicBezTo>
                    <a:pt x="6774" y="10271"/>
                    <a:pt x="6743" y="10208"/>
                    <a:pt x="6743" y="10176"/>
                  </a:cubicBezTo>
                  <a:cubicBezTo>
                    <a:pt x="7499" y="10019"/>
                    <a:pt x="8161" y="9704"/>
                    <a:pt x="8728" y="9200"/>
                  </a:cubicBezTo>
                  <a:lnTo>
                    <a:pt x="7279" y="7750"/>
                  </a:lnTo>
                  <a:cubicBezTo>
                    <a:pt x="7058" y="7908"/>
                    <a:pt x="6869" y="8002"/>
                    <a:pt x="6648" y="8097"/>
                  </a:cubicBezTo>
                  <a:cubicBezTo>
                    <a:pt x="6365" y="8160"/>
                    <a:pt x="6081" y="8223"/>
                    <a:pt x="5861" y="8223"/>
                  </a:cubicBezTo>
                  <a:cubicBezTo>
                    <a:pt x="5325" y="8223"/>
                    <a:pt x="4821" y="8065"/>
                    <a:pt x="4443" y="7750"/>
                  </a:cubicBezTo>
                  <a:lnTo>
                    <a:pt x="2962" y="9200"/>
                  </a:lnTo>
                  <a:cubicBezTo>
                    <a:pt x="3529" y="9672"/>
                    <a:pt x="4191" y="10019"/>
                    <a:pt x="4947" y="10176"/>
                  </a:cubicBezTo>
                  <a:cubicBezTo>
                    <a:pt x="4947" y="10208"/>
                    <a:pt x="4916" y="10271"/>
                    <a:pt x="4916" y="10302"/>
                  </a:cubicBezTo>
                  <a:lnTo>
                    <a:pt x="3813" y="10302"/>
                  </a:lnTo>
                  <a:cubicBezTo>
                    <a:pt x="2458" y="10302"/>
                    <a:pt x="1387" y="9231"/>
                    <a:pt x="1387" y="7908"/>
                  </a:cubicBezTo>
                  <a:lnTo>
                    <a:pt x="1387" y="6805"/>
                  </a:lnTo>
                  <a:cubicBezTo>
                    <a:pt x="1450" y="6805"/>
                    <a:pt x="1482" y="6742"/>
                    <a:pt x="1513" y="6742"/>
                  </a:cubicBezTo>
                  <a:cubicBezTo>
                    <a:pt x="1671" y="7498"/>
                    <a:pt x="1986" y="8160"/>
                    <a:pt x="2490" y="8727"/>
                  </a:cubicBezTo>
                  <a:lnTo>
                    <a:pt x="3971" y="7278"/>
                  </a:lnTo>
                  <a:cubicBezTo>
                    <a:pt x="3498" y="6648"/>
                    <a:pt x="3372" y="5860"/>
                    <a:pt x="3592" y="5072"/>
                  </a:cubicBezTo>
                  <a:cubicBezTo>
                    <a:pt x="3687" y="4820"/>
                    <a:pt x="3813" y="4631"/>
                    <a:pt x="3971" y="4442"/>
                  </a:cubicBezTo>
                  <a:lnTo>
                    <a:pt x="2490" y="2962"/>
                  </a:lnTo>
                  <a:cubicBezTo>
                    <a:pt x="2017" y="3529"/>
                    <a:pt x="1671" y="4190"/>
                    <a:pt x="1513" y="4946"/>
                  </a:cubicBezTo>
                  <a:cubicBezTo>
                    <a:pt x="1482" y="4946"/>
                    <a:pt x="1450" y="4883"/>
                    <a:pt x="1387" y="4883"/>
                  </a:cubicBezTo>
                  <a:lnTo>
                    <a:pt x="1387" y="3781"/>
                  </a:lnTo>
                  <a:cubicBezTo>
                    <a:pt x="1387" y="2458"/>
                    <a:pt x="2458" y="1386"/>
                    <a:pt x="3813" y="1386"/>
                  </a:cubicBezTo>
                  <a:lnTo>
                    <a:pt x="4916" y="1386"/>
                  </a:lnTo>
                  <a:cubicBezTo>
                    <a:pt x="4916" y="1418"/>
                    <a:pt x="4947" y="1481"/>
                    <a:pt x="4947" y="1512"/>
                  </a:cubicBezTo>
                  <a:cubicBezTo>
                    <a:pt x="4191" y="1670"/>
                    <a:pt x="3529" y="1985"/>
                    <a:pt x="2962" y="2489"/>
                  </a:cubicBezTo>
                  <a:lnTo>
                    <a:pt x="4443" y="3938"/>
                  </a:lnTo>
                  <a:cubicBezTo>
                    <a:pt x="4632" y="3781"/>
                    <a:pt x="4821" y="3686"/>
                    <a:pt x="5073" y="3592"/>
                  </a:cubicBezTo>
                  <a:cubicBezTo>
                    <a:pt x="5339" y="3496"/>
                    <a:pt x="5605" y="3451"/>
                    <a:pt x="5865" y="3451"/>
                  </a:cubicBezTo>
                  <a:cubicBezTo>
                    <a:pt x="6375" y="3451"/>
                    <a:pt x="6861" y="3625"/>
                    <a:pt x="7279" y="3938"/>
                  </a:cubicBezTo>
                  <a:lnTo>
                    <a:pt x="8728" y="2489"/>
                  </a:lnTo>
                  <a:cubicBezTo>
                    <a:pt x="8161" y="2016"/>
                    <a:pt x="7499" y="1670"/>
                    <a:pt x="6743" y="1512"/>
                  </a:cubicBezTo>
                  <a:cubicBezTo>
                    <a:pt x="6743" y="1481"/>
                    <a:pt x="6774" y="1418"/>
                    <a:pt x="6774" y="1386"/>
                  </a:cubicBezTo>
                  <a:close/>
                  <a:moveTo>
                    <a:pt x="5829" y="0"/>
                  </a:moveTo>
                  <a:cubicBezTo>
                    <a:pt x="5420" y="0"/>
                    <a:pt x="5010" y="315"/>
                    <a:pt x="4884" y="725"/>
                  </a:cubicBezTo>
                  <a:lnTo>
                    <a:pt x="3782" y="725"/>
                  </a:lnTo>
                  <a:cubicBezTo>
                    <a:pt x="2112" y="725"/>
                    <a:pt x="726" y="2111"/>
                    <a:pt x="726" y="3781"/>
                  </a:cubicBezTo>
                  <a:lnTo>
                    <a:pt x="726" y="4883"/>
                  </a:lnTo>
                  <a:cubicBezTo>
                    <a:pt x="316" y="5041"/>
                    <a:pt x="1" y="5419"/>
                    <a:pt x="1" y="5829"/>
                  </a:cubicBezTo>
                  <a:cubicBezTo>
                    <a:pt x="1" y="6270"/>
                    <a:pt x="316" y="6679"/>
                    <a:pt x="726" y="6774"/>
                  </a:cubicBezTo>
                  <a:lnTo>
                    <a:pt x="726" y="7876"/>
                  </a:lnTo>
                  <a:cubicBezTo>
                    <a:pt x="726" y="9578"/>
                    <a:pt x="2112" y="10964"/>
                    <a:pt x="3782" y="10964"/>
                  </a:cubicBezTo>
                  <a:lnTo>
                    <a:pt x="4884" y="10964"/>
                  </a:lnTo>
                  <a:cubicBezTo>
                    <a:pt x="5042" y="11342"/>
                    <a:pt x="5420" y="11688"/>
                    <a:pt x="5829" y="11688"/>
                  </a:cubicBezTo>
                  <a:cubicBezTo>
                    <a:pt x="6270" y="11688"/>
                    <a:pt x="6680" y="11342"/>
                    <a:pt x="6774" y="10964"/>
                  </a:cubicBezTo>
                  <a:lnTo>
                    <a:pt x="7877" y="10964"/>
                  </a:lnTo>
                  <a:cubicBezTo>
                    <a:pt x="9578" y="10964"/>
                    <a:pt x="10965" y="9578"/>
                    <a:pt x="10965" y="7876"/>
                  </a:cubicBezTo>
                  <a:lnTo>
                    <a:pt x="10965" y="6774"/>
                  </a:lnTo>
                  <a:cubicBezTo>
                    <a:pt x="11343" y="6616"/>
                    <a:pt x="11658" y="6270"/>
                    <a:pt x="11658" y="5829"/>
                  </a:cubicBezTo>
                  <a:cubicBezTo>
                    <a:pt x="11658" y="5419"/>
                    <a:pt x="11343" y="5072"/>
                    <a:pt x="10965" y="4883"/>
                  </a:cubicBezTo>
                  <a:lnTo>
                    <a:pt x="10965" y="3781"/>
                  </a:lnTo>
                  <a:cubicBezTo>
                    <a:pt x="10965" y="2111"/>
                    <a:pt x="9578" y="725"/>
                    <a:pt x="7877" y="725"/>
                  </a:cubicBezTo>
                  <a:lnTo>
                    <a:pt x="6774" y="725"/>
                  </a:lnTo>
                  <a:cubicBezTo>
                    <a:pt x="6617" y="315"/>
                    <a:pt x="6270" y="0"/>
                    <a:pt x="582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</a:endParaRPr>
            </a:p>
          </p:txBody>
        </p:sp>
        <p:sp>
          <p:nvSpPr>
            <p:cNvPr id="40" name="Google Shape;186;p17">
              <a:extLst>
                <a:ext uri="{FF2B5EF4-FFF2-40B4-BE49-F238E27FC236}">
                  <a16:creationId xmlns:a16="http://schemas.microsoft.com/office/drawing/2014/main" id="{124361A9-E48D-8A65-D276-0A51A3774F1F}"/>
                </a:ext>
              </a:extLst>
            </p:cNvPr>
            <p:cNvSpPr txBox="1"/>
            <p:nvPr/>
          </p:nvSpPr>
          <p:spPr>
            <a:xfrm>
              <a:off x="4061620" y="3803802"/>
              <a:ext cx="4048014" cy="53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0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Prescribes for </a:t>
              </a:r>
              <a:r>
                <a:rPr kumimoji="0" lang="en-IN" sz="1600" b="1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some</a:t>
              </a:r>
              <a:r>
                <a:rPr kumimoji="0" lang="en-IN" sz="1000" b="0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 eligible patients</a:t>
              </a:r>
            </a:p>
          </p:txBody>
        </p:sp>
        <p:sp>
          <p:nvSpPr>
            <p:cNvPr id="41" name="Google Shape;189;p17">
              <a:extLst>
                <a:ext uri="{FF2B5EF4-FFF2-40B4-BE49-F238E27FC236}">
                  <a16:creationId xmlns:a16="http://schemas.microsoft.com/office/drawing/2014/main" id="{C4AB870A-CBB3-2CFD-DF78-3542276510DC}"/>
                </a:ext>
              </a:extLst>
            </p:cNvPr>
            <p:cNvSpPr/>
            <p:nvPr/>
          </p:nvSpPr>
          <p:spPr>
            <a:xfrm>
              <a:off x="474695" y="4652877"/>
              <a:ext cx="4215125" cy="528050"/>
            </a:xfrm>
            <a:custGeom>
              <a:avLst/>
              <a:gdLst/>
              <a:ahLst/>
              <a:cxnLst/>
              <a:rect l="l" t="t" r="r" b="b"/>
              <a:pathLst>
                <a:path w="168605" h="21122" extrusionOk="0">
                  <a:moveTo>
                    <a:pt x="12204" y="0"/>
                  </a:moveTo>
                  <a:lnTo>
                    <a:pt x="0" y="21122"/>
                  </a:lnTo>
                  <a:lnTo>
                    <a:pt x="168605" y="21122"/>
                  </a:lnTo>
                  <a:lnTo>
                    <a:pt x="156401" y="0"/>
                  </a:lnTo>
                  <a:close/>
                </a:path>
              </a:pathLst>
            </a:custGeom>
            <a:solidFill>
              <a:srgbClr val="369DE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Trialist</a:t>
              </a: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  <p:grpSp>
          <p:nvGrpSpPr>
            <p:cNvPr id="42" name="Google Shape;190;p17">
              <a:extLst>
                <a:ext uri="{FF2B5EF4-FFF2-40B4-BE49-F238E27FC236}">
                  <a16:creationId xmlns:a16="http://schemas.microsoft.com/office/drawing/2014/main" id="{4C2257C4-5029-AFD5-1A12-7D0D821B2332}"/>
                </a:ext>
              </a:extLst>
            </p:cNvPr>
            <p:cNvGrpSpPr/>
            <p:nvPr/>
          </p:nvGrpSpPr>
          <p:grpSpPr>
            <a:xfrm>
              <a:off x="742928" y="4738653"/>
              <a:ext cx="357468" cy="356497"/>
              <a:chOff x="-31455100" y="3909350"/>
              <a:chExt cx="294600" cy="293800"/>
            </a:xfrm>
          </p:grpSpPr>
          <p:sp>
            <p:nvSpPr>
              <p:cNvPr id="50" name="Google Shape;191;p17">
                <a:extLst>
                  <a:ext uri="{FF2B5EF4-FFF2-40B4-BE49-F238E27FC236}">
                    <a16:creationId xmlns:a16="http://schemas.microsoft.com/office/drawing/2014/main" id="{51813A8A-A891-8FA5-8F7D-1D4D4BE6218B}"/>
                  </a:ext>
                </a:extLst>
              </p:cNvPr>
              <p:cNvSpPr/>
              <p:nvPr/>
            </p:nvSpPr>
            <p:spPr>
              <a:xfrm>
                <a:off x="-31455100" y="3909350"/>
                <a:ext cx="294600" cy="293800"/>
              </a:xfrm>
              <a:custGeom>
                <a:avLst/>
                <a:gdLst/>
                <a:ahLst/>
                <a:cxnLst/>
                <a:rect l="l" t="t" r="r" b="b"/>
                <a:pathLst>
                  <a:path w="11784" h="11752" extrusionOk="0">
                    <a:moveTo>
                      <a:pt x="5199" y="1"/>
                    </a:moveTo>
                    <a:cubicBezTo>
                      <a:pt x="5042" y="1"/>
                      <a:pt x="4916" y="127"/>
                      <a:pt x="4884" y="284"/>
                    </a:cubicBezTo>
                    <a:lnTo>
                      <a:pt x="4727" y="883"/>
                    </a:lnTo>
                    <a:cubicBezTo>
                      <a:pt x="4191" y="977"/>
                      <a:pt x="3655" y="1229"/>
                      <a:pt x="3151" y="1513"/>
                    </a:cubicBezTo>
                    <a:lnTo>
                      <a:pt x="2647" y="1229"/>
                    </a:lnTo>
                    <a:cubicBezTo>
                      <a:pt x="2599" y="1205"/>
                      <a:pt x="2542" y="1195"/>
                      <a:pt x="2482" y="1195"/>
                    </a:cubicBezTo>
                    <a:cubicBezTo>
                      <a:pt x="2386" y="1195"/>
                      <a:pt x="2284" y="1222"/>
                      <a:pt x="2206" y="1261"/>
                    </a:cubicBezTo>
                    <a:lnTo>
                      <a:pt x="1261" y="2206"/>
                    </a:lnTo>
                    <a:cubicBezTo>
                      <a:pt x="1135" y="2332"/>
                      <a:pt x="1135" y="2490"/>
                      <a:pt x="1230" y="2647"/>
                    </a:cubicBezTo>
                    <a:lnTo>
                      <a:pt x="1513" y="3151"/>
                    </a:lnTo>
                    <a:cubicBezTo>
                      <a:pt x="1198" y="3624"/>
                      <a:pt x="978" y="4191"/>
                      <a:pt x="883" y="4726"/>
                    </a:cubicBezTo>
                    <a:lnTo>
                      <a:pt x="284" y="4884"/>
                    </a:lnTo>
                    <a:cubicBezTo>
                      <a:pt x="127" y="4947"/>
                      <a:pt x="1" y="5041"/>
                      <a:pt x="1" y="5199"/>
                    </a:cubicBezTo>
                    <a:lnTo>
                      <a:pt x="1" y="6585"/>
                    </a:lnTo>
                    <a:cubicBezTo>
                      <a:pt x="1" y="6743"/>
                      <a:pt x="127" y="6869"/>
                      <a:pt x="284" y="6900"/>
                    </a:cubicBezTo>
                    <a:lnTo>
                      <a:pt x="883" y="7058"/>
                    </a:lnTo>
                    <a:cubicBezTo>
                      <a:pt x="946" y="7404"/>
                      <a:pt x="1072" y="7782"/>
                      <a:pt x="1230" y="8129"/>
                    </a:cubicBezTo>
                    <a:cubicBezTo>
                      <a:pt x="1504" y="7854"/>
                      <a:pt x="2843" y="6486"/>
                      <a:pt x="2841" y="6486"/>
                    </a:cubicBezTo>
                    <a:lnTo>
                      <a:pt x="2841" y="6486"/>
                    </a:lnTo>
                    <a:cubicBezTo>
                      <a:pt x="2841" y="6486"/>
                      <a:pt x="2839" y="6488"/>
                      <a:pt x="2836" y="6491"/>
                    </a:cubicBezTo>
                    <a:cubicBezTo>
                      <a:pt x="2836" y="6459"/>
                      <a:pt x="2805" y="6050"/>
                      <a:pt x="2805" y="5955"/>
                    </a:cubicBezTo>
                    <a:cubicBezTo>
                      <a:pt x="2773" y="4222"/>
                      <a:pt x="4191" y="2836"/>
                      <a:pt x="5861" y="2836"/>
                    </a:cubicBezTo>
                    <a:cubicBezTo>
                      <a:pt x="7562" y="2836"/>
                      <a:pt x="8948" y="4222"/>
                      <a:pt x="8948" y="5924"/>
                    </a:cubicBezTo>
                    <a:cubicBezTo>
                      <a:pt x="8948" y="7499"/>
                      <a:pt x="7751" y="8822"/>
                      <a:pt x="6113" y="8948"/>
                    </a:cubicBezTo>
                    <a:cubicBezTo>
                      <a:pt x="6066" y="8948"/>
                      <a:pt x="5963" y="8956"/>
                      <a:pt x="5821" y="8956"/>
                    </a:cubicBezTo>
                    <a:cubicBezTo>
                      <a:pt x="5680" y="8956"/>
                      <a:pt x="5499" y="8948"/>
                      <a:pt x="5294" y="8917"/>
                    </a:cubicBezTo>
                    <a:lnTo>
                      <a:pt x="3655" y="10523"/>
                    </a:lnTo>
                    <a:cubicBezTo>
                      <a:pt x="4034" y="10681"/>
                      <a:pt x="4349" y="10807"/>
                      <a:pt x="4727" y="10870"/>
                    </a:cubicBezTo>
                    <a:lnTo>
                      <a:pt x="4884" y="11468"/>
                    </a:lnTo>
                    <a:cubicBezTo>
                      <a:pt x="4916" y="11626"/>
                      <a:pt x="5042" y="11752"/>
                      <a:pt x="5199" y="11752"/>
                    </a:cubicBezTo>
                    <a:lnTo>
                      <a:pt x="6585" y="11752"/>
                    </a:lnTo>
                    <a:cubicBezTo>
                      <a:pt x="6743" y="11752"/>
                      <a:pt x="6869" y="11626"/>
                      <a:pt x="6901" y="11468"/>
                    </a:cubicBezTo>
                    <a:lnTo>
                      <a:pt x="7058" y="10870"/>
                    </a:lnTo>
                    <a:cubicBezTo>
                      <a:pt x="7594" y="10775"/>
                      <a:pt x="8129" y="10523"/>
                      <a:pt x="8633" y="10240"/>
                    </a:cubicBezTo>
                    <a:lnTo>
                      <a:pt x="9137" y="10523"/>
                    </a:lnTo>
                    <a:cubicBezTo>
                      <a:pt x="9185" y="10547"/>
                      <a:pt x="9243" y="10558"/>
                      <a:pt x="9302" y="10558"/>
                    </a:cubicBezTo>
                    <a:cubicBezTo>
                      <a:pt x="9399" y="10558"/>
                      <a:pt x="9501" y="10531"/>
                      <a:pt x="9578" y="10492"/>
                    </a:cubicBezTo>
                    <a:lnTo>
                      <a:pt x="10524" y="9547"/>
                    </a:lnTo>
                    <a:cubicBezTo>
                      <a:pt x="10650" y="9421"/>
                      <a:pt x="10650" y="9263"/>
                      <a:pt x="10555" y="9106"/>
                    </a:cubicBezTo>
                    <a:lnTo>
                      <a:pt x="10303" y="8601"/>
                    </a:lnTo>
                    <a:cubicBezTo>
                      <a:pt x="10618" y="8129"/>
                      <a:pt x="10807" y="7562"/>
                      <a:pt x="10933" y="7026"/>
                    </a:cubicBezTo>
                    <a:lnTo>
                      <a:pt x="11500" y="6869"/>
                    </a:lnTo>
                    <a:cubicBezTo>
                      <a:pt x="11658" y="6806"/>
                      <a:pt x="11784" y="6711"/>
                      <a:pt x="11784" y="6554"/>
                    </a:cubicBezTo>
                    <a:lnTo>
                      <a:pt x="11784" y="5167"/>
                    </a:lnTo>
                    <a:cubicBezTo>
                      <a:pt x="11752" y="5041"/>
                      <a:pt x="11658" y="4915"/>
                      <a:pt x="11500" y="4884"/>
                    </a:cubicBezTo>
                    <a:lnTo>
                      <a:pt x="10902" y="4726"/>
                    </a:lnTo>
                    <a:cubicBezTo>
                      <a:pt x="10807" y="4191"/>
                      <a:pt x="10555" y="3687"/>
                      <a:pt x="10272" y="3151"/>
                    </a:cubicBezTo>
                    <a:lnTo>
                      <a:pt x="10555" y="2647"/>
                    </a:lnTo>
                    <a:cubicBezTo>
                      <a:pt x="10650" y="2521"/>
                      <a:pt x="10587" y="2332"/>
                      <a:pt x="10524" y="2206"/>
                    </a:cubicBezTo>
                    <a:lnTo>
                      <a:pt x="9578" y="1261"/>
                    </a:lnTo>
                    <a:cubicBezTo>
                      <a:pt x="9509" y="1209"/>
                      <a:pt x="9430" y="1185"/>
                      <a:pt x="9347" y="1185"/>
                    </a:cubicBezTo>
                    <a:cubicBezTo>
                      <a:pt x="9279" y="1185"/>
                      <a:pt x="9208" y="1201"/>
                      <a:pt x="9137" y="1229"/>
                    </a:cubicBezTo>
                    <a:lnTo>
                      <a:pt x="8633" y="1513"/>
                    </a:lnTo>
                    <a:cubicBezTo>
                      <a:pt x="8161" y="1198"/>
                      <a:pt x="7594" y="977"/>
                      <a:pt x="7058" y="883"/>
                    </a:cubicBezTo>
                    <a:lnTo>
                      <a:pt x="6901" y="284"/>
                    </a:lnTo>
                    <a:cubicBezTo>
                      <a:pt x="6869" y="127"/>
                      <a:pt x="6743" y="1"/>
                      <a:pt x="6585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</a:endParaRPr>
              </a:p>
            </p:txBody>
          </p:sp>
          <p:sp>
            <p:nvSpPr>
              <p:cNvPr id="51" name="Google Shape;192;p17">
                <a:extLst>
                  <a:ext uri="{FF2B5EF4-FFF2-40B4-BE49-F238E27FC236}">
                    <a16:creationId xmlns:a16="http://schemas.microsoft.com/office/drawing/2014/main" id="{8F204133-AF3C-684E-E0CC-AACD2F3E085F}"/>
                  </a:ext>
                </a:extLst>
              </p:cNvPr>
              <p:cNvSpPr/>
              <p:nvPr/>
            </p:nvSpPr>
            <p:spPr>
              <a:xfrm>
                <a:off x="-31455100" y="3997350"/>
                <a:ext cx="215050" cy="205025"/>
              </a:xfrm>
              <a:custGeom>
                <a:avLst/>
                <a:gdLst/>
                <a:ahLst/>
                <a:cxnLst/>
                <a:rect l="l" t="t" r="r" b="b"/>
                <a:pathLst>
                  <a:path w="8602" h="8201" extrusionOk="0">
                    <a:moveTo>
                      <a:pt x="5939" y="0"/>
                    </a:moveTo>
                    <a:cubicBezTo>
                      <a:pt x="4729" y="0"/>
                      <a:pt x="3750" y="854"/>
                      <a:pt x="3561" y="1963"/>
                    </a:cubicBezTo>
                    <a:cubicBezTo>
                      <a:pt x="3466" y="2404"/>
                      <a:pt x="3498" y="2813"/>
                      <a:pt x="3624" y="3223"/>
                    </a:cubicBezTo>
                    <a:lnTo>
                      <a:pt x="410" y="6468"/>
                    </a:lnTo>
                    <a:cubicBezTo>
                      <a:pt x="1" y="6846"/>
                      <a:pt x="1" y="7507"/>
                      <a:pt x="410" y="7917"/>
                    </a:cubicBezTo>
                    <a:cubicBezTo>
                      <a:pt x="600" y="8106"/>
                      <a:pt x="852" y="8200"/>
                      <a:pt x="1111" y="8200"/>
                    </a:cubicBezTo>
                    <a:cubicBezTo>
                      <a:pt x="1371" y="8200"/>
                      <a:pt x="1639" y="8106"/>
                      <a:pt x="1860" y="7917"/>
                    </a:cubicBezTo>
                    <a:lnTo>
                      <a:pt x="5136" y="4640"/>
                    </a:lnTo>
                    <a:cubicBezTo>
                      <a:pt x="5388" y="4735"/>
                      <a:pt x="5664" y="4782"/>
                      <a:pt x="5947" y="4782"/>
                    </a:cubicBezTo>
                    <a:cubicBezTo>
                      <a:pt x="6231" y="4782"/>
                      <a:pt x="6522" y="4735"/>
                      <a:pt x="6806" y="4640"/>
                    </a:cubicBezTo>
                    <a:cubicBezTo>
                      <a:pt x="7846" y="4294"/>
                      <a:pt x="8602" y="3065"/>
                      <a:pt x="8224" y="1773"/>
                    </a:cubicBezTo>
                    <a:cubicBezTo>
                      <a:pt x="8192" y="1647"/>
                      <a:pt x="8129" y="1553"/>
                      <a:pt x="8003" y="1521"/>
                    </a:cubicBezTo>
                    <a:cubicBezTo>
                      <a:pt x="7972" y="1514"/>
                      <a:pt x="7942" y="1510"/>
                      <a:pt x="7914" y="1510"/>
                    </a:cubicBezTo>
                    <a:cubicBezTo>
                      <a:pt x="7830" y="1510"/>
                      <a:pt x="7759" y="1545"/>
                      <a:pt x="7688" y="1616"/>
                    </a:cubicBezTo>
                    <a:lnTo>
                      <a:pt x="6901" y="2404"/>
                    </a:lnTo>
                    <a:cubicBezTo>
                      <a:pt x="6759" y="2530"/>
                      <a:pt x="6578" y="2593"/>
                      <a:pt x="6400" y="2593"/>
                    </a:cubicBezTo>
                    <a:cubicBezTo>
                      <a:pt x="6223" y="2593"/>
                      <a:pt x="6050" y="2530"/>
                      <a:pt x="5924" y="2404"/>
                    </a:cubicBezTo>
                    <a:cubicBezTo>
                      <a:pt x="5640" y="2120"/>
                      <a:pt x="5640" y="1679"/>
                      <a:pt x="5924" y="1395"/>
                    </a:cubicBezTo>
                    <a:lnTo>
                      <a:pt x="6711" y="608"/>
                    </a:lnTo>
                    <a:cubicBezTo>
                      <a:pt x="6774" y="545"/>
                      <a:pt x="6806" y="419"/>
                      <a:pt x="6774" y="293"/>
                    </a:cubicBezTo>
                    <a:cubicBezTo>
                      <a:pt x="6743" y="198"/>
                      <a:pt x="6648" y="104"/>
                      <a:pt x="6554" y="72"/>
                    </a:cubicBezTo>
                    <a:cubicBezTo>
                      <a:pt x="6344" y="23"/>
                      <a:pt x="6139" y="0"/>
                      <a:pt x="593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</a:endParaRPr>
              </a:p>
            </p:txBody>
          </p:sp>
        </p:grpSp>
        <p:sp>
          <p:nvSpPr>
            <p:cNvPr id="43" name="Google Shape;193;p17">
              <a:extLst>
                <a:ext uri="{FF2B5EF4-FFF2-40B4-BE49-F238E27FC236}">
                  <a16:creationId xmlns:a16="http://schemas.microsoft.com/office/drawing/2014/main" id="{E134F006-E9E3-14DA-C2A7-A5AADBE839C2}"/>
                </a:ext>
              </a:extLst>
            </p:cNvPr>
            <p:cNvSpPr txBox="1"/>
            <p:nvPr/>
          </p:nvSpPr>
          <p:spPr>
            <a:xfrm>
              <a:off x="4480075" y="4616167"/>
              <a:ext cx="4048014" cy="43281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0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Prescribed for a </a:t>
              </a:r>
              <a:r>
                <a:rPr kumimoji="0" lang="en-IN" sz="1600" b="1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very few </a:t>
              </a:r>
              <a:r>
                <a:rPr kumimoji="0" lang="en-IN" sz="1000" b="0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eligible patients</a:t>
              </a:r>
            </a:p>
          </p:txBody>
        </p:sp>
        <p:sp>
          <p:nvSpPr>
            <p:cNvPr id="44" name="Google Shape;189;p17">
              <a:extLst>
                <a:ext uri="{FF2B5EF4-FFF2-40B4-BE49-F238E27FC236}">
                  <a16:creationId xmlns:a16="http://schemas.microsoft.com/office/drawing/2014/main" id="{48C3975C-DF55-4382-6384-98EE89F7AE6D}"/>
                </a:ext>
              </a:extLst>
            </p:cNvPr>
            <p:cNvSpPr/>
            <p:nvPr/>
          </p:nvSpPr>
          <p:spPr>
            <a:xfrm>
              <a:off x="45720" y="5382814"/>
              <a:ext cx="5092891" cy="528050"/>
            </a:xfrm>
            <a:custGeom>
              <a:avLst/>
              <a:gdLst/>
              <a:ahLst/>
              <a:cxnLst/>
              <a:rect l="l" t="t" r="r" b="b"/>
              <a:pathLst>
                <a:path w="168605" h="21122" extrusionOk="0">
                  <a:moveTo>
                    <a:pt x="12204" y="0"/>
                  </a:moveTo>
                  <a:lnTo>
                    <a:pt x="0" y="21122"/>
                  </a:lnTo>
                  <a:lnTo>
                    <a:pt x="168605" y="21122"/>
                  </a:lnTo>
                  <a:lnTo>
                    <a:pt x="156401" y="0"/>
                  </a:lnTo>
                  <a:close/>
                </a:path>
              </a:pathLst>
            </a:custGeom>
            <a:solidFill>
              <a:srgbClr val="D0D0D0">
                <a:lumMod val="75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Non-Prescribers</a:t>
              </a: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  <p:sp>
          <p:nvSpPr>
            <p:cNvPr id="45" name="Google Shape;193;p17">
              <a:extLst>
                <a:ext uri="{FF2B5EF4-FFF2-40B4-BE49-F238E27FC236}">
                  <a16:creationId xmlns:a16="http://schemas.microsoft.com/office/drawing/2014/main" id="{DA08F43D-31B5-FAD0-6923-C9F88EC91B15}"/>
                </a:ext>
              </a:extLst>
            </p:cNvPr>
            <p:cNvSpPr txBox="1"/>
            <p:nvPr/>
          </p:nvSpPr>
          <p:spPr>
            <a:xfrm>
              <a:off x="4978876" y="5382813"/>
              <a:ext cx="4048012" cy="42106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000" b="0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Prescribed our brand to </a:t>
              </a:r>
              <a:r>
                <a:rPr kumimoji="0" lang="en" sz="1600" b="1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none</a:t>
              </a:r>
              <a:r>
                <a:rPr kumimoji="0" lang="en" sz="1000" b="0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 of the patients</a:t>
              </a: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rial Nova Cond" panose="020B0506020202020204" pitchFamily="34" charset="0"/>
                <a:ea typeface="Roboto"/>
                <a:cs typeface="Roboto"/>
                <a:sym typeface="Roboto"/>
              </a:endParaRPr>
            </a:p>
          </p:txBody>
        </p:sp>
        <p:pic>
          <p:nvPicPr>
            <p:cNvPr id="46" name="Graphic 45" descr="No sign with solid fill">
              <a:extLst>
                <a:ext uri="{FF2B5EF4-FFF2-40B4-BE49-F238E27FC236}">
                  <a16:creationId xmlns:a16="http://schemas.microsoft.com/office/drawing/2014/main" id="{A9D38A7A-6F98-2878-740B-F274E9998D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85728" y="5418239"/>
              <a:ext cx="457200" cy="457200"/>
            </a:xfrm>
            <a:prstGeom prst="rect">
              <a:avLst/>
            </a:prstGeom>
          </p:spPr>
        </p:pic>
        <p:pic>
          <p:nvPicPr>
            <p:cNvPr id="47" name="Graphic 46" descr="First aid kit with solid fill">
              <a:extLst>
                <a:ext uri="{FF2B5EF4-FFF2-40B4-BE49-F238E27FC236}">
                  <a16:creationId xmlns:a16="http://schemas.microsoft.com/office/drawing/2014/main" id="{0CBC3D19-F37B-4A44-ED8D-E13BB479CD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50832" y="1943689"/>
              <a:ext cx="457200" cy="457200"/>
            </a:xfrm>
            <a:prstGeom prst="rect">
              <a:avLst/>
            </a:prstGeom>
          </p:spPr>
        </p:pic>
        <p:pic>
          <p:nvPicPr>
            <p:cNvPr id="48" name="Graphic 47" descr="Maze with solid fill">
              <a:extLst>
                <a:ext uri="{FF2B5EF4-FFF2-40B4-BE49-F238E27FC236}">
                  <a16:creationId xmlns:a16="http://schemas.microsoft.com/office/drawing/2014/main" id="{6A2EB0AC-9D66-472B-CEB7-5743EFFEA4D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37570" y="3922139"/>
              <a:ext cx="457200" cy="457200"/>
            </a:xfrm>
            <a:prstGeom prst="rect">
              <a:avLst/>
            </a:prstGeom>
          </p:spPr>
        </p:pic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6C23385E-3FF2-EA84-5072-36FD378CCD18}"/>
              </a:ext>
            </a:extLst>
          </p:cNvPr>
          <p:cNvSpPr txBox="1"/>
          <p:nvPr/>
        </p:nvSpPr>
        <p:spPr>
          <a:xfrm>
            <a:off x="3934961" y="5843422"/>
            <a:ext cx="13513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>
                <a:solidFill>
                  <a:srgbClr val="0070C0"/>
                </a:solidFill>
              </a:rPr>
              <a:t>0% </a:t>
            </a:r>
            <a:r>
              <a:rPr lang="es-MX" sz="1200" b="1" err="1">
                <a:solidFill>
                  <a:srgbClr val="0070C0"/>
                </a:solidFill>
              </a:rPr>
              <a:t>Market</a:t>
            </a:r>
            <a:r>
              <a:rPr lang="es-MX" sz="1200" b="1">
                <a:solidFill>
                  <a:srgbClr val="0070C0"/>
                </a:solidFill>
              </a:rPr>
              <a:t> Shar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06ED3A5-9440-9237-B3DB-52C1ACCFA722}"/>
              </a:ext>
            </a:extLst>
          </p:cNvPr>
          <p:cNvSpPr txBox="1"/>
          <p:nvPr/>
        </p:nvSpPr>
        <p:spPr>
          <a:xfrm>
            <a:off x="3630174" y="5210382"/>
            <a:ext cx="16976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>
                <a:solidFill>
                  <a:srgbClr val="0070C0"/>
                </a:solidFill>
              </a:rPr>
              <a:t>1%-25% </a:t>
            </a:r>
            <a:r>
              <a:rPr lang="es-MX" sz="1200" b="1" err="1">
                <a:solidFill>
                  <a:srgbClr val="0070C0"/>
                </a:solidFill>
              </a:rPr>
              <a:t>Market</a:t>
            </a:r>
            <a:r>
              <a:rPr lang="es-MX" sz="1200" b="1">
                <a:solidFill>
                  <a:srgbClr val="0070C0"/>
                </a:solidFill>
              </a:rPr>
              <a:t> Shar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7A324F7-F4BC-3F46-52A7-2EE833CAC643}"/>
              </a:ext>
            </a:extLst>
          </p:cNvPr>
          <p:cNvSpPr txBox="1"/>
          <p:nvPr/>
        </p:nvSpPr>
        <p:spPr>
          <a:xfrm>
            <a:off x="3217137" y="4524529"/>
            <a:ext cx="17793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>
                <a:solidFill>
                  <a:srgbClr val="0070C0"/>
                </a:solidFill>
              </a:rPr>
              <a:t>25%-50% </a:t>
            </a:r>
            <a:r>
              <a:rPr lang="es-MX" sz="1200" b="1" err="1">
                <a:solidFill>
                  <a:srgbClr val="0070C0"/>
                </a:solidFill>
              </a:rPr>
              <a:t>Market</a:t>
            </a:r>
            <a:r>
              <a:rPr lang="es-MX" sz="1200" b="1">
                <a:solidFill>
                  <a:srgbClr val="0070C0"/>
                </a:solidFill>
              </a:rPr>
              <a:t> Shar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6922D4D-4AAE-7C1A-CDEF-2702FB4CC09B}"/>
              </a:ext>
            </a:extLst>
          </p:cNvPr>
          <p:cNvSpPr txBox="1"/>
          <p:nvPr/>
        </p:nvSpPr>
        <p:spPr>
          <a:xfrm>
            <a:off x="2936593" y="3926198"/>
            <a:ext cx="17743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>
                <a:solidFill>
                  <a:srgbClr val="0070C0"/>
                </a:solidFill>
              </a:rPr>
              <a:t>50%-75% </a:t>
            </a:r>
            <a:r>
              <a:rPr lang="es-MX" sz="1200" b="1" err="1">
                <a:solidFill>
                  <a:srgbClr val="0070C0"/>
                </a:solidFill>
              </a:rPr>
              <a:t>Market</a:t>
            </a:r>
            <a:r>
              <a:rPr lang="es-MX" sz="1200" b="1">
                <a:solidFill>
                  <a:srgbClr val="0070C0"/>
                </a:solidFill>
              </a:rPr>
              <a:t> Shar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F47F83E-FA25-6DDC-8A08-715C0A54BAC4}"/>
              </a:ext>
            </a:extLst>
          </p:cNvPr>
          <p:cNvSpPr txBox="1"/>
          <p:nvPr/>
        </p:nvSpPr>
        <p:spPr>
          <a:xfrm>
            <a:off x="2677722" y="3375040"/>
            <a:ext cx="15149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>
                <a:solidFill>
                  <a:srgbClr val="0070C0"/>
                </a:solidFill>
              </a:rPr>
              <a:t>&lt;75% </a:t>
            </a:r>
            <a:r>
              <a:rPr lang="es-MX" sz="1200" b="1" err="1">
                <a:solidFill>
                  <a:srgbClr val="0070C0"/>
                </a:solidFill>
              </a:rPr>
              <a:t>Market</a:t>
            </a:r>
            <a:r>
              <a:rPr lang="es-MX" sz="1200" b="1">
                <a:solidFill>
                  <a:srgbClr val="0070C0"/>
                </a:solidFill>
              </a:rPr>
              <a:t> Share</a:t>
            </a: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55806D53-5D5F-7C73-32F6-ED92B18D88BB}"/>
              </a:ext>
            </a:extLst>
          </p:cNvPr>
          <p:cNvSpPr txBox="1">
            <a:spLocks/>
          </p:cNvSpPr>
          <p:nvPr/>
        </p:nvSpPr>
        <p:spPr>
          <a:xfrm>
            <a:off x="482526" y="1617729"/>
            <a:ext cx="4306037" cy="4483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doption Segments</a:t>
            </a:r>
            <a:br>
              <a:rPr kumimoji="0" lang="en-IN" sz="2800" b="1" i="0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</a:br>
            <a:endParaRPr kumimoji="0" lang="en-IN" sz="2800" b="1" i="0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50787A12-48C6-FBAA-41F6-CD16C4164029}"/>
              </a:ext>
            </a:extLst>
          </p:cNvPr>
          <p:cNvSpPr txBox="1">
            <a:spLocks/>
          </p:cNvSpPr>
          <p:nvPr/>
        </p:nvSpPr>
        <p:spPr>
          <a:xfrm>
            <a:off x="7665611" y="1692314"/>
            <a:ext cx="3019513" cy="290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Innovation Rate 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AC937F4A-0147-BE53-F4B0-9307DEB63353}"/>
              </a:ext>
            </a:extLst>
          </p:cNvPr>
          <p:cNvGrpSpPr/>
          <p:nvPr/>
        </p:nvGrpSpPr>
        <p:grpSpPr>
          <a:xfrm>
            <a:off x="7407836" y="3184579"/>
            <a:ext cx="4502731" cy="2625003"/>
            <a:chOff x="7375544" y="2315024"/>
            <a:chExt cx="4502731" cy="2625003"/>
          </a:xfrm>
        </p:grpSpPr>
        <p:sp>
          <p:nvSpPr>
            <p:cNvPr id="62" name="Google Shape;158;p17">
              <a:extLst>
                <a:ext uri="{FF2B5EF4-FFF2-40B4-BE49-F238E27FC236}">
                  <a16:creationId xmlns:a16="http://schemas.microsoft.com/office/drawing/2014/main" id="{3E6DCB84-BF60-C83A-F488-98D1890CEA34}"/>
                </a:ext>
              </a:extLst>
            </p:cNvPr>
            <p:cNvSpPr/>
            <p:nvPr/>
          </p:nvSpPr>
          <p:spPr>
            <a:xfrm>
              <a:off x="7689366" y="3218535"/>
              <a:ext cx="1466920" cy="903812"/>
            </a:xfrm>
            <a:custGeom>
              <a:avLst/>
              <a:gdLst/>
              <a:ahLst/>
              <a:cxnLst/>
              <a:rect l="l" t="t" r="r" b="b"/>
              <a:pathLst>
                <a:path w="80142" h="42138" extrusionOk="0">
                  <a:moveTo>
                    <a:pt x="72962" y="1"/>
                  </a:moveTo>
                  <a:lnTo>
                    <a:pt x="10823" y="23385"/>
                  </a:lnTo>
                  <a:lnTo>
                    <a:pt x="1" y="42137"/>
                  </a:lnTo>
                  <a:lnTo>
                    <a:pt x="80142" y="12443"/>
                  </a:lnTo>
                  <a:lnTo>
                    <a:pt x="72962" y="1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</a:endParaRPr>
            </a:p>
          </p:txBody>
        </p:sp>
        <p:sp>
          <p:nvSpPr>
            <p:cNvPr id="63" name="Google Shape;159;p17">
              <a:extLst>
                <a:ext uri="{FF2B5EF4-FFF2-40B4-BE49-F238E27FC236}">
                  <a16:creationId xmlns:a16="http://schemas.microsoft.com/office/drawing/2014/main" id="{DDD4FB7C-4890-728E-8D12-F3FE686DFB67}"/>
                </a:ext>
              </a:extLst>
            </p:cNvPr>
            <p:cNvSpPr/>
            <p:nvPr/>
          </p:nvSpPr>
          <p:spPr>
            <a:xfrm>
              <a:off x="8003188" y="2315024"/>
              <a:ext cx="1153098" cy="1170399"/>
            </a:xfrm>
            <a:custGeom>
              <a:avLst/>
              <a:gdLst/>
              <a:ahLst/>
              <a:cxnLst/>
              <a:rect l="l" t="t" r="r" b="b"/>
              <a:pathLst>
                <a:path w="62997" h="54567" extrusionOk="0">
                  <a:moveTo>
                    <a:pt x="31493" y="1"/>
                  </a:moveTo>
                  <a:lnTo>
                    <a:pt x="10823" y="35815"/>
                  </a:lnTo>
                  <a:lnTo>
                    <a:pt x="1" y="54567"/>
                  </a:lnTo>
                  <a:lnTo>
                    <a:pt x="62997" y="54567"/>
                  </a:lnTo>
                  <a:lnTo>
                    <a:pt x="52174" y="35815"/>
                  </a:lnTo>
                  <a:lnTo>
                    <a:pt x="31493" y="1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731500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High</a:t>
              </a: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  <p:sp>
          <p:nvSpPr>
            <p:cNvPr id="64" name="Google Shape;174;p17">
              <a:extLst>
                <a:ext uri="{FF2B5EF4-FFF2-40B4-BE49-F238E27FC236}">
                  <a16:creationId xmlns:a16="http://schemas.microsoft.com/office/drawing/2014/main" id="{148391D9-3BC3-9E5F-4BFC-5625E592245C}"/>
                </a:ext>
              </a:extLst>
            </p:cNvPr>
            <p:cNvSpPr/>
            <p:nvPr/>
          </p:nvSpPr>
          <p:spPr>
            <a:xfrm>
              <a:off x="7375764" y="3720095"/>
              <a:ext cx="2094345" cy="1038896"/>
            </a:xfrm>
            <a:custGeom>
              <a:avLst/>
              <a:gdLst/>
              <a:ahLst/>
              <a:cxnLst/>
              <a:rect l="l" t="t" r="r" b="b"/>
              <a:pathLst>
                <a:path w="114420" h="48436" extrusionOk="0">
                  <a:moveTo>
                    <a:pt x="103597" y="1"/>
                  </a:moveTo>
                  <a:lnTo>
                    <a:pt x="10823" y="29695"/>
                  </a:lnTo>
                  <a:lnTo>
                    <a:pt x="1" y="48435"/>
                  </a:lnTo>
                  <a:lnTo>
                    <a:pt x="114420" y="18753"/>
                  </a:lnTo>
                  <a:lnTo>
                    <a:pt x="103597" y="1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Cond" panose="020B0506020202020204" pitchFamily="34" charset="0"/>
              </a:endParaRPr>
            </a:p>
          </p:txBody>
        </p:sp>
        <p:sp>
          <p:nvSpPr>
            <p:cNvPr id="65" name="Google Shape;175;p17">
              <a:extLst>
                <a:ext uri="{FF2B5EF4-FFF2-40B4-BE49-F238E27FC236}">
                  <a16:creationId xmlns:a16="http://schemas.microsoft.com/office/drawing/2014/main" id="{F5EAEDD7-4CB3-64FB-CF33-4CE5FFA98773}"/>
                </a:ext>
              </a:extLst>
            </p:cNvPr>
            <p:cNvSpPr/>
            <p:nvPr/>
          </p:nvSpPr>
          <p:spPr>
            <a:xfrm>
              <a:off x="7689366" y="3720095"/>
              <a:ext cx="1780742" cy="402252"/>
            </a:xfrm>
            <a:custGeom>
              <a:avLst/>
              <a:gdLst/>
              <a:ahLst/>
              <a:cxnLst/>
              <a:rect l="l" t="t" r="r" b="b"/>
              <a:pathLst>
                <a:path w="97287" h="18754" extrusionOk="0">
                  <a:moveTo>
                    <a:pt x="10823" y="1"/>
                  </a:moveTo>
                  <a:lnTo>
                    <a:pt x="1" y="18753"/>
                  </a:lnTo>
                  <a:lnTo>
                    <a:pt x="97287" y="18753"/>
                  </a:lnTo>
                  <a:lnTo>
                    <a:pt x="86464" y="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Medium</a:t>
              </a: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  <p:sp>
          <p:nvSpPr>
            <p:cNvPr id="66" name="Google Shape;184;p17">
              <a:extLst>
                <a:ext uri="{FF2B5EF4-FFF2-40B4-BE49-F238E27FC236}">
                  <a16:creationId xmlns:a16="http://schemas.microsoft.com/office/drawing/2014/main" id="{6D9010AA-A61A-FFA8-C89C-F22D474B8270}"/>
                </a:ext>
              </a:extLst>
            </p:cNvPr>
            <p:cNvSpPr/>
            <p:nvPr/>
          </p:nvSpPr>
          <p:spPr>
            <a:xfrm>
              <a:off x="7375544" y="4356986"/>
              <a:ext cx="2408387" cy="401994"/>
            </a:xfrm>
            <a:custGeom>
              <a:avLst/>
              <a:gdLst/>
              <a:ahLst/>
              <a:cxnLst/>
              <a:rect l="l" t="t" r="r" b="b"/>
              <a:pathLst>
                <a:path w="131577" h="18742" extrusionOk="0">
                  <a:moveTo>
                    <a:pt x="10823" y="1"/>
                  </a:moveTo>
                  <a:lnTo>
                    <a:pt x="1" y="18741"/>
                  </a:lnTo>
                  <a:lnTo>
                    <a:pt x="131577" y="18741"/>
                  </a:lnTo>
                  <a:lnTo>
                    <a:pt x="120754" y="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Low</a:t>
              </a: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  <p:sp>
          <p:nvSpPr>
            <p:cNvPr id="67" name="Google Shape;193;p17">
              <a:extLst>
                <a:ext uri="{FF2B5EF4-FFF2-40B4-BE49-F238E27FC236}">
                  <a16:creationId xmlns:a16="http://schemas.microsoft.com/office/drawing/2014/main" id="{36EF8A23-1656-7851-E04A-D1EC86DE03C9}"/>
                </a:ext>
              </a:extLst>
            </p:cNvPr>
            <p:cNvSpPr txBox="1"/>
            <p:nvPr/>
          </p:nvSpPr>
          <p:spPr>
            <a:xfrm>
              <a:off x="9783930" y="4343400"/>
              <a:ext cx="2094345" cy="4155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000" b="0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Conservative HCP use Innovation products in </a:t>
              </a:r>
              <a:r>
                <a:rPr lang="en" sz="1000" b="1" kern="0">
                  <a:solidFill>
                    <a:srgbClr val="434343"/>
                  </a:solidFill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a Few</a:t>
              </a:r>
              <a:r>
                <a:rPr kumimoji="0" lang="en" sz="1000" b="1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 </a:t>
              </a:r>
              <a:r>
                <a:rPr kumimoji="0" lang="en" sz="1000" b="0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of the patients</a:t>
              </a: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Arial Nova Cond" panose="020B0506020202020204" pitchFamily="34" charset="0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0D13B91E-F2F0-2985-B151-28C8DAD49ADC}"/>
                </a:ext>
              </a:extLst>
            </p:cNvPr>
            <p:cNvSpPr txBox="1"/>
            <p:nvPr/>
          </p:nvSpPr>
          <p:spPr>
            <a:xfrm>
              <a:off x="9783929" y="4663028"/>
              <a:ext cx="197695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sz="1200" b="1">
                  <a:solidFill>
                    <a:srgbClr val="00B050"/>
                  </a:solidFill>
                </a:rPr>
                <a:t>0% -10% </a:t>
              </a:r>
              <a:r>
                <a:rPr lang="es-MX" sz="1200" b="1" err="1">
                  <a:solidFill>
                    <a:srgbClr val="00B050"/>
                  </a:solidFill>
                </a:rPr>
                <a:t>Innovation</a:t>
              </a:r>
              <a:r>
                <a:rPr lang="es-MX" sz="1200" b="1">
                  <a:solidFill>
                    <a:srgbClr val="00B050"/>
                  </a:solidFill>
                </a:rPr>
                <a:t> Share</a:t>
              </a:r>
            </a:p>
          </p:txBody>
        </p:sp>
        <p:sp>
          <p:nvSpPr>
            <p:cNvPr id="69" name="Google Shape;186;p17">
              <a:extLst>
                <a:ext uri="{FF2B5EF4-FFF2-40B4-BE49-F238E27FC236}">
                  <a16:creationId xmlns:a16="http://schemas.microsoft.com/office/drawing/2014/main" id="{4CF4BCA0-30A9-B0E0-8F87-1C49A856BFD8}"/>
                </a:ext>
              </a:extLst>
            </p:cNvPr>
            <p:cNvSpPr txBox="1"/>
            <p:nvPr/>
          </p:nvSpPr>
          <p:spPr>
            <a:xfrm>
              <a:off x="9469888" y="3552771"/>
              <a:ext cx="2141590" cy="4589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0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Prescribes innovation for </a:t>
              </a:r>
              <a:r>
                <a:rPr kumimoji="0" lang="en-IN" sz="1600" b="1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some</a:t>
              </a:r>
              <a:r>
                <a:rPr kumimoji="0" lang="en-IN" sz="1000" b="0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 eligible patients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E22DF7A7-3CA0-3616-9D67-674540E31C18}"/>
                </a:ext>
              </a:extLst>
            </p:cNvPr>
            <p:cNvSpPr txBox="1"/>
            <p:nvPr/>
          </p:nvSpPr>
          <p:spPr>
            <a:xfrm>
              <a:off x="9506297" y="3940303"/>
              <a:ext cx="206877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sz="1200" b="1">
                  <a:solidFill>
                    <a:srgbClr val="00B050"/>
                  </a:solidFill>
                </a:rPr>
                <a:t>11% -25% </a:t>
              </a:r>
              <a:r>
                <a:rPr lang="es-MX" sz="1200" b="1" err="1">
                  <a:solidFill>
                    <a:srgbClr val="00B050"/>
                  </a:solidFill>
                </a:rPr>
                <a:t>Innovation</a:t>
              </a:r>
              <a:r>
                <a:rPr lang="es-MX" sz="1200" b="1">
                  <a:solidFill>
                    <a:srgbClr val="00B050"/>
                  </a:solidFill>
                </a:rPr>
                <a:t> Share</a:t>
              </a:r>
            </a:p>
          </p:txBody>
        </p:sp>
        <p:sp>
          <p:nvSpPr>
            <p:cNvPr id="71" name="Google Shape;186;p17">
              <a:extLst>
                <a:ext uri="{FF2B5EF4-FFF2-40B4-BE49-F238E27FC236}">
                  <a16:creationId xmlns:a16="http://schemas.microsoft.com/office/drawing/2014/main" id="{C895CFBA-EB64-2144-41CB-D84760AC16EB}"/>
                </a:ext>
              </a:extLst>
            </p:cNvPr>
            <p:cNvSpPr txBox="1"/>
            <p:nvPr/>
          </p:nvSpPr>
          <p:spPr>
            <a:xfrm>
              <a:off x="9063364" y="2646779"/>
              <a:ext cx="2141590" cy="4589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000" b="0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Prescribes innovation for </a:t>
              </a:r>
              <a:r>
                <a:rPr kumimoji="0" lang="en-IN" sz="1600" b="1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most </a:t>
              </a:r>
              <a:r>
                <a:rPr kumimoji="0" lang="en-IN" sz="1000" b="0" i="0" u="none" strike="noStrike" kern="0" cap="none" spc="0" normalizeH="0" baseline="0" noProof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ova Cond" panose="020B0506020202020204" pitchFamily="34" charset="0"/>
                  <a:ea typeface="Roboto"/>
                  <a:cs typeface="Roboto"/>
                  <a:sym typeface="Roboto"/>
                </a:rPr>
                <a:t>eligible patients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537A6155-F8D0-02BA-F07A-9D2B30D3E093}"/>
                </a:ext>
              </a:extLst>
            </p:cNvPr>
            <p:cNvSpPr txBox="1"/>
            <p:nvPr/>
          </p:nvSpPr>
          <p:spPr>
            <a:xfrm>
              <a:off x="9016437" y="3135477"/>
              <a:ext cx="193251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sz="1200" b="1">
                  <a:solidFill>
                    <a:srgbClr val="00B050"/>
                  </a:solidFill>
                </a:rPr>
                <a:t>     &lt;25% </a:t>
              </a:r>
              <a:r>
                <a:rPr lang="es-MX" sz="1200" b="1" err="1">
                  <a:solidFill>
                    <a:srgbClr val="00B050"/>
                  </a:solidFill>
                </a:rPr>
                <a:t>Innovation</a:t>
              </a:r>
              <a:r>
                <a:rPr lang="es-MX" sz="1200" b="1">
                  <a:solidFill>
                    <a:srgbClr val="00B050"/>
                  </a:solidFill>
                </a:rPr>
                <a:t> Share</a:t>
              </a: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31FEAE58-9589-8E0E-6680-6594A8616F3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79625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>
            <a:extLst>
              <a:ext uri="{FF2B5EF4-FFF2-40B4-BE49-F238E27FC236}">
                <a16:creationId xmlns:a16="http://schemas.microsoft.com/office/drawing/2014/main" id="{CF77CFE2-038D-7104-8971-0E15129099CD}"/>
              </a:ext>
            </a:extLst>
          </p:cNvPr>
          <p:cNvSpPr txBox="1">
            <a:spLocks/>
          </p:cNvSpPr>
          <p:nvPr/>
        </p:nvSpPr>
        <p:spPr>
          <a:xfrm>
            <a:off x="147445" y="307666"/>
            <a:ext cx="11512326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egments Proposal by Brand</a:t>
            </a:r>
            <a:br>
              <a:rPr kumimoji="0" lang="en-IN" sz="3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</a:br>
            <a:endParaRPr kumimoji="0" lang="en-IN" sz="32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7FC4E7D-6E47-F52F-5CB5-48877D3CA2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23369"/>
              </p:ext>
            </p:extLst>
          </p:nvPr>
        </p:nvGraphicFramePr>
        <p:xfrm>
          <a:off x="452759" y="1530848"/>
          <a:ext cx="11512326" cy="19053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05891">
                  <a:extLst>
                    <a:ext uri="{9D8B030D-6E8A-4147-A177-3AD203B41FA5}">
                      <a16:colId xmlns:a16="http://schemas.microsoft.com/office/drawing/2014/main" val="844098323"/>
                    </a:ext>
                  </a:extLst>
                </a:gridCol>
                <a:gridCol w="873654">
                  <a:extLst>
                    <a:ext uri="{9D8B030D-6E8A-4147-A177-3AD203B41FA5}">
                      <a16:colId xmlns:a16="http://schemas.microsoft.com/office/drawing/2014/main" val="1341598911"/>
                    </a:ext>
                  </a:extLst>
                </a:gridCol>
                <a:gridCol w="873654">
                  <a:extLst>
                    <a:ext uri="{9D8B030D-6E8A-4147-A177-3AD203B41FA5}">
                      <a16:colId xmlns:a16="http://schemas.microsoft.com/office/drawing/2014/main" val="634416117"/>
                    </a:ext>
                  </a:extLst>
                </a:gridCol>
                <a:gridCol w="873654">
                  <a:extLst>
                    <a:ext uri="{9D8B030D-6E8A-4147-A177-3AD203B41FA5}">
                      <a16:colId xmlns:a16="http://schemas.microsoft.com/office/drawing/2014/main" val="3204031654"/>
                    </a:ext>
                  </a:extLst>
                </a:gridCol>
                <a:gridCol w="2632021">
                  <a:extLst>
                    <a:ext uri="{9D8B030D-6E8A-4147-A177-3AD203B41FA5}">
                      <a16:colId xmlns:a16="http://schemas.microsoft.com/office/drawing/2014/main" val="491839691"/>
                    </a:ext>
                  </a:extLst>
                </a:gridCol>
                <a:gridCol w="873654">
                  <a:extLst>
                    <a:ext uri="{9D8B030D-6E8A-4147-A177-3AD203B41FA5}">
                      <a16:colId xmlns:a16="http://schemas.microsoft.com/office/drawing/2014/main" val="3472365943"/>
                    </a:ext>
                  </a:extLst>
                </a:gridCol>
                <a:gridCol w="1703072">
                  <a:extLst>
                    <a:ext uri="{9D8B030D-6E8A-4147-A177-3AD203B41FA5}">
                      <a16:colId xmlns:a16="http://schemas.microsoft.com/office/drawing/2014/main" val="1435945909"/>
                    </a:ext>
                  </a:extLst>
                </a:gridCol>
                <a:gridCol w="1293893">
                  <a:extLst>
                    <a:ext uri="{9D8B030D-6E8A-4147-A177-3AD203B41FA5}">
                      <a16:colId xmlns:a16="http://schemas.microsoft.com/office/drawing/2014/main" val="1347859059"/>
                    </a:ext>
                  </a:extLst>
                </a:gridCol>
                <a:gridCol w="1282833">
                  <a:extLst>
                    <a:ext uri="{9D8B030D-6E8A-4147-A177-3AD203B41FA5}">
                      <a16:colId xmlns:a16="http://schemas.microsoft.com/office/drawing/2014/main" val="1920328700"/>
                    </a:ext>
                  </a:extLst>
                </a:gridCol>
              </a:tblGrid>
              <a:tr h="279852">
                <a:tc>
                  <a:txBody>
                    <a:bodyPr/>
                    <a:lstStyle/>
                    <a:p>
                      <a:pPr algn="l" fontAlgn="b"/>
                      <a:r>
                        <a:rPr lang="es-MX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DOPTION SEGMENTS</a:t>
                      </a:r>
                      <a:endParaRPr lang="es-MX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ctr">
                    <a:solidFill>
                      <a:srgbClr val="022A4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COSENTYX</a:t>
                      </a:r>
                      <a:endParaRPr lang="es-MX" sz="105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>
                    <a:solidFill>
                      <a:srgbClr val="022A4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KISQALI</a:t>
                      </a:r>
                      <a:endParaRPr lang="es-MX" sz="105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>
                    <a:solidFill>
                      <a:srgbClr val="022A4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KISQALI 2</a:t>
                      </a:r>
                      <a:endParaRPr lang="es-MX" sz="105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>
                    <a:solidFill>
                      <a:srgbClr val="022A4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JAKAVI</a:t>
                      </a:r>
                      <a:endParaRPr lang="es-MX" sz="105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>
                    <a:solidFill>
                      <a:srgbClr val="022A4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ENTRESTO</a:t>
                      </a:r>
                      <a:endParaRPr lang="es-MX" sz="105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>
                    <a:solidFill>
                      <a:srgbClr val="022A4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SCEMBLIX</a:t>
                      </a:r>
                      <a:endParaRPr lang="es-MX" sz="105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>
                    <a:solidFill>
                      <a:srgbClr val="022A4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BONSPRI</a:t>
                      </a:r>
                      <a:endParaRPr lang="es-MX" sz="105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>
                    <a:solidFill>
                      <a:srgbClr val="022A4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SYBRAVA</a:t>
                      </a:r>
                      <a:endParaRPr lang="es-MX" sz="105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>
                    <a:solidFill>
                      <a:srgbClr val="022A4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983454"/>
                  </a:ext>
                </a:extLst>
              </a:tr>
              <a:tr h="270585">
                <a:tc>
                  <a:txBody>
                    <a:bodyPr/>
                    <a:lstStyle/>
                    <a:p>
                      <a:pPr algn="l" fontAlgn="b"/>
                      <a:r>
                        <a:rPr lang="es-MX" sz="1050" u="none" strike="noStrike" dirty="0">
                          <a:effectLst/>
                        </a:rPr>
                        <a:t>LOYALIST</a:t>
                      </a:r>
                      <a:endParaRPr lang="es-MX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75%-10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75%-10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75%-10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75%-100%) MS sujeto a peso de Hidroxicarbamida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75%-10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41%-10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41%-10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41%-10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extLst>
                  <a:ext uri="{0D108BD9-81ED-4DB2-BD59-A6C34878D82A}">
                    <a16:rowId xmlns:a16="http://schemas.microsoft.com/office/drawing/2014/main" val="2852095288"/>
                  </a:ext>
                </a:extLst>
              </a:tr>
              <a:tr h="270585">
                <a:tc>
                  <a:txBody>
                    <a:bodyPr/>
                    <a:lstStyle/>
                    <a:p>
                      <a:pPr algn="l" fontAlgn="b"/>
                      <a:r>
                        <a:rPr lang="es-MX" sz="1050" u="none" strike="noStrike" dirty="0">
                          <a:effectLst/>
                        </a:rPr>
                        <a:t>EXPANSION</a:t>
                      </a:r>
                      <a:endParaRPr lang="es-MX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50%-75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40%-75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50%-75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50%-75%) MS sujeto a peso de Hidroxicarbamida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50%-75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26%-4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26%-4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26%-4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extLst>
                  <a:ext uri="{0D108BD9-81ED-4DB2-BD59-A6C34878D82A}">
                    <a16:rowId xmlns:a16="http://schemas.microsoft.com/office/drawing/2014/main" val="2986791906"/>
                  </a:ext>
                </a:extLst>
              </a:tr>
              <a:tr h="270585">
                <a:tc>
                  <a:txBody>
                    <a:bodyPr/>
                    <a:lstStyle/>
                    <a:p>
                      <a:pPr algn="l" fontAlgn="b"/>
                      <a:r>
                        <a:rPr lang="es-MX" sz="1050" u="none" strike="noStrike" dirty="0">
                          <a:effectLst/>
                        </a:rPr>
                        <a:t>ADOPTION</a:t>
                      </a:r>
                      <a:endParaRPr lang="es-MX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25%-5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5%-4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25%-5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25%-50%) MS sujeto a peso de Hidroxicarbamida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25%-5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11%-25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11%-25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11%-25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extLst>
                  <a:ext uri="{0D108BD9-81ED-4DB2-BD59-A6C34878D82A}">
                    <a16:rowId xmlns:a16="http://schemas.microsoft.com/office/drawing/2014/main" val="123430271"/>
                  </a:ext>
                </a:extLst>
              </a:tr>
              <a:tr h="270585">
                <a:tc>
                  <a:txBody>
                    <a:bodyPr/>
                    <a:lstStyle/>
                    <a:p>
                      <a:pPr algn="l" fontAlgn="b"/>
                      <a:r>
                        <a:rPr lang="es-MX" sz="1050" u="none" strike="noStrike" dirty="0">
                          <a:effectLst/>
                        </a:rPr>
                        <a:t>TRIALIST</a:t>
                      </a:r>
                      <a:endParaRPr lang="es-MX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1%-25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0%-5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1%-25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1%-25%) MS sujeto a peso de Hidroxicarbamida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1%-25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1%-1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1%-1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(1%-10%) MS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extLst>
                  <a:ext uri="{0D108BD9-81ED-4DB2-BD59-A6C34878D82A}">
                    <a16:rowId xmlns:a16="http://schemas.microsoft.com/office/drawing/2014/main" val="2733638816"/>
                  </a:ext>
                </a:extLst>
              </a:tr>
              <a:tr h="279852">
                <a:tc>
                  <a:txBody>
                    <a:bodyPr/>
                    <a:lstStyle/>
                    <a:p>
                      <a:pPr algn="l" fontAlgn="b"/>
                      <a:r>
                        <a:rPr lang="es-MX" sz="1050" u="none" strike="noStrike" dirty="0">
                          <a:effectLst/>
                        </a:rPr>
                        <a:t>NON PRESCRIBER</a:t>
                      </a:r>
                      <a:endParaRPr lang="es-MX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0%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NA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0%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 dirty="0">
                          <a:effectLst/>
                        </a:rPr>
                        <a:t>0%</a:t>
                      </a:r>
                      <a:endParaRPr lang="es-MX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0%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0%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>
                          <a:effectLst/>
                        </a:rPr>
                        <a:t>0%</a:t>
                      </a:r>
                      <a:endParaRPr lang="es-MX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50" u="none" strike="noStrike" dirty="0">
                          <a:effectLst/>
                        </a:rPr>
                        <a:t>0%</a:t>
                      </a:r>
                      <a:endParaRPr lang="es-MX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1" marR="5051" marT="5051" marB="0" anchor="b"/>
                </a:tc>
                <a:extLst>
                  <a:ext uri="{0D108BD9-81ED-4DB2-BD59-A6C34878D82A}">
                    <a16:rowId xmlns:a16="http://schemas.microsoft.com/office/drawing/2014/main" val="321856592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1FB6A1B2-B48F-3CFE-053B-30C90A26ED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8652170"/>
              </p:ext>
            </p:extLst>
          </p:nvPr>
        </p:nvGraphicFramePr>
        <p:xfrm>
          <a:off x="452759" y="4250396"/>
          <a:ext cx="7297446" cy="10767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98449">
                  <a:extLst>
                    <a:ext uri="{9D8B030D-6E8A-4147-A177-3AD203B41FA5}">
                      <a16:colId xmlns:a16="http://schemas.microsoft.com/office/drawing/2014/main" val="1450257424"/>
                    </a:ext>
                  </a:extLst>
                </a:gridCol>
                <a:gridCol w="2307611">
                  <a:extLst>
                    <a:ext uri="{9D8B030D-6E8A-4147-A177-3AD203B41FA5}">
                      <a16:colId xmlns:a16="http://schemas.microsoft.com/office/drawing/2014/main" val="59128412"/>
                    </a:ext>
                  </a:extLst>
                </a:gridCol>
                <a:gridCol w="1753185">
                  <a:extLst>
                    <a:ext uri="{9D8B030D-6E8A-4147-A177-3AD203B41FA5}">
                      <a16:colId xmlns:a16="http://schemas.microsoft.com/office/drawing/2014/main" val="1987022626"/>
                    </a:ext>
                  </a:extLst>
                </a:gridCol>
                <a:gridCol w="1738201">
                  <a:extLst>
                    <a:ext uri="{9D8B030D-6E8A-4147-A177-3AD203B41FA5}">
                      <a16:colId xmlns:a16="http://schemas.microsoft.com/office/drawing/2014/main" val="1110373913"/>
                    </a:ext>
                  </a:extLst>
                </a:gridCol>
              </a:tblGrid>
              <a:tr h="277185"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NNOVATION RATE </a:t>
                      </a:r>
                      <a:endParaRPr lang="es-MX" sz="1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022A4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SCEMBLIX</a:t>
                      </a:r>
                      <a:endParaRPr lang="es-MX" sz="11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022A4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BONSPRI</a:t>
                      </a:r>
                      <a:endParaRPr lang="es-MX" sz="11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022A4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SYBRAVA</a:t>
                      </a:r>
                      <a:endParaRPr lang="es-MX" sz="11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022A4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603483"/>
                  </a:ext>
                </a:extLst>
              </a:tr>
              <a:tr h="266524"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u="none" strike="noStrike" dirty="0">
                          <a:effectLst/>
                        </a:rPr>
                        <a:t>HIGH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>
                          <a:effectLst/>
                        </a:rPr>
                        <a:t>&gt;25% PONA, DASA Y BOSU</a:t>
                      </a:r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>
                          <a:effectLst/>
                        </a:rPr>
                        <a:t>&gt;25% (High Efficacy)</a:t>
                      </a:r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>
                          <a:effectLst/>
                        </a:rPr>
                        <a:t>&gt;25% (Dapa+Empa)</a:t>
                      </a:r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84214718"/>
                  </a:ext>
                </a:extLst>
              </a:tr>
              <a:tr h="266524"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u="none" strike="noStrike" dirty="0">
                          <a:effectLst/>
                        </a:rPr>
                        <a:t>MEDIUM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>
                          <a:effectLst/>
                        </a:rPr>
                        <a:t>11%-25% PONA, DASA Y BOSU</a:t>
                      </a:r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>
                          <a:effectLst/>
                        </a:rPr>
                        <a:t>11%-25% (High Efficacy)</a:t>
                      </a:r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>
                          <a:effectLst/>
                        </a:rPr>
                        <a:t>11%-25% (Dapa+Empa)</a:t>
                      </a:r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82693473"/>
                  </a:ext>
                </a:extLst>
              </a:tr>
              <a:tr h="266524"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u="none" strike="noStrike" dirty="0">
                          <a:effectLst/>
                        </a:rPr>
                        <a:t>LOW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>
                          <a:effectLst/>
                        </a:rPr>
                        <a:t>0%-10% (PONA+DASA+BOSU)</a:t>
                      </a:r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>
                          <a:effectLst/>
                        </a:rPr>
                        <a:t>0%-10% (High Efficacy)</a:t>
                      </a:r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u="none" strike="noStrike" dirty="0">
                          <a:effectLst/>
                        </a:rPr>
                        <a:t>0%-10% (</a:t>
                      </a:r>
                      <a:r>
                        <a:rPr lang="es-MX" sz="1100" u="none" strike="noStrike" dirty="0" err="1">
                          <a:effectLst/>
                        </a:rPr>
                        <a:t>Dapa+Empa</a:t>
                      </a:r>
                      <a:r>
                        <a:rPr lang="es-MX" sz="1100" u="none" strike="noStrike" dirty="0">
                          <a:effectLst/>
                        </a:rPr>
                        <a:t>)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452157447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E6F327B3-D945-2FF6-A299-1ECA1EF695A2}"/>
              </a:ext>
            </a:extLst>
          </p:cNvPr>
          <p:cNvSpPr txBox="1"/>
          <p:nvPr/>
        </p:nvSpPr>
        <p:spPr>
          <a:xfrm>
            <a:off x="606871" y="1056073"/>
            <a:ext cx="56432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l </a:t>
            </a:r>
            <a:r>
              <a:rPr lang="es-MX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ments</a:t>
            </a:r>
            <a:r>
              <a:rPr lang="es-MX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MX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</a:t>
            </a:r>
            <a:r>
              <a:rPr lang="es-MX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s-MX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nds</a:t>
            </a:r>
            <a:r>
              <a:rPr lang="es-MX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MX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</a:t>
            </a:r>
            <a:r>
              <a:rPr lang="es-MX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MX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cle</a:t>
            </a:r>
            <a:endParaRPr lang="es-MX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10A503C-9E12-CB2F-4BF9-2048696265DF}"/>
              </a:ext>
            </a:extLst>
          </p:cNvPr>
          <p:cNvSpPr txBox="1"/>
          <p:nvPr/>
        </p:nvSpPr>
        <p:spPr>
          <a:xfrm>
            <a:off x="452759" y="3881064"/>
            <a:ext cx="72974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ments based in innovation and Launches</a:t>
            </a:r>
            <a:endParaRPr lang="es-MX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0AA7D87-1187-E542-8698-2E05FAAEC4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031901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Title 1">
            <a:extLst>
              <a:ext uri="{FF2B5EF4-FFF2-40B4-BE49-F238E27FC236}">
                <a16:creationId xmlns:a16="http://schemas.microsoft.com/office/drawing/2014/main" id="{DFAED66E-A029-5678-4E42-50C414DD4031}"/>
              </a:ext>
            </a:extLst>
          </p:cNvPr>
          <p:cNvSpPr txBox="1">
            <a:spLocks/>
          </p:cNvSpPr>
          <p:nvPr/>
        </p:nvSpPr>
        <p:spPr>
          <a:xfrm>
            <a:off x="412974" y="282511"/>
            <a:ext cx="11698360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Value driver scores add up to an HCP level score</a:t>
            </a:r>
          </a:p>
        </p:txBody>
      </p:sp>
      <p:graphicFrame>
        <p:nvGraphicFramePr>
          <p:cNvPr id="150" name="Table 149">
            <a:extLst>
              <a:ext uri="{FF2B5EF4-FFF2-40B4-BE49-F238E27FC236}">
                <a16:creationId xmlns:a16="http://schemas.microsoft.com/office/drawing/2014/main" id="{60170092-A6B3-A414-AA72-00CF8DD16545}"/>
              </a:ext>
            </a:extLst>
          </p:cNvPr>
          <p:cNvGraphicFramePr>
            <a:graphicFrameLocks noGrp="1"/>
          </p:cNvGraphicFramePr>
          <p:nvPr/>
        </p:nvGraphicFramePr>
        <p:xfrm>
          <a:off x="502540" y="1551974"/>
          <a:ext cx="1217767" cy="21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7767">
                  <a:extLst>
                    <a:ext uri="{9D8B030D-6E8A-4147-A177-3AD203B41FA5}">
                      <a16:colId xmlns:a16="http://schemas.microsoft.com/office/drawing/2014/main" val="18999273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i="1">
                          <a:solidFill>
                            <a:srgbClr val="002060"/>
                          </a:solidFill>
                          <a:latin typeface="Arial Nova Cond" panose="020B0506020202020204" pitchFamily="34" charset="0"/>
                        </a:rPr>
                        <a:t>Illustration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9402641"/>
                  </a:ext>
                </a:extLst>
              </a:tr>
            </a:tbl>
          </a:graphicData>
        </a:graphic>
      </p:graphicFrame>
      <p:grpSp>
        <p:nvGrpSpPr>
          <p:cNvPr id="59" name="Group 58">
            <a:extLst>
              <a:ext uri="{FF2B5EF4-FFF2-40B4-BE49-F238E27FC236}">
                <a16:creationId xmlns:a16="http://schemas.microsoft.com/office/drawing/2014/main" id="{2FE0454C-D972-9312-7E65-DDDCB7CD8AD1}"/>
              </a:ext>
            </a:extLst>
          </p:cNvPr>
          <p:cNvGrpSpPr/>
          <p:nvPr/>
        </p:nvGrpSpPr>
        <p:grpSpPr>
          <a:xfrm>
            <a:off x="352160" y="2730378"/>
            <a:ext cx="640080" cy="817733"/>
            <a:chOff x="92934" y="2494922"/>
            <a:chExt cx="640080" cy="817733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B29D0C4E-B281-DD55-19A6-BFFFAAC6D33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72244" y="2494922"/>
              <a:ext cx="497142" cy="557942"/>
              <a:chOff x="454025" y="1147763"/>
              <a:chExt cx="844550" cy="915988"/>
            </a:xfrm>
            <a:solidFill>
              <a:schemeClr val="accent6">
                <a:lumMod val="50000"/>
              </a:schemeClr>
            </a:solidFill>
          </p:grpSpPr>
          <p:sp>
            <p:nvSpPr>
              <p:cNvPr id="39" name="Freeform 16">
                <a:extLst>
                  <a:ext uri="{FF2B5EF4-FFF2-40B4-BE49-F238E27FC236}">
                    <a16:creationId xmlns:a16="http://schemas.microsoft.com/office/drawing/2014/main" id="{B4AF6179-8E03-3860-85AE-6A7EA80053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400" y="1809750"/>
                <a:ext cx="52388" cy="53975"/>
              </a:xfrm>
              <a:custGeom>
                <a:avLst/>
                <a:gdLst>
                  <a:gd name="T0" fmla="*/ 91 w 91"/>
                  <a:gd name="T1" fmla="*/ 46 h 92"/>
                  <a:gd name="T2" fmla="*/ 91 w 91"/>
                  <a:gd name="T3" fmla="*/ 46 h 92"/>
                  <a:gd name="T4" fmla="*/ 46 w 91"/>
                  <a:gd name="T5" fmla="*/ 0 h 92"/>
                  <a:gd name="T6" fmla="*/ 0 w 91"/>
                  <a:gd name="T7" fmla="*/ 46 h 92"/>
                  <a:gd name="T8" fmla="*/ 46 w 91"/>
                  <a:gd name="T9" fmla="*/ 92 h 92"/>
                  <a:gd name="T10" fmla="*/ 91 w 91"/>
                  <a:gd name="T11" fmla="*/ 4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" h="92">
                    <a:moveTo>
                      <a:pt x="91" y="46"/>
                    </a:moveTo>
                    <a:lnTo>
                      <a:pt x="91" y="46"/>
                    </a:lnTo>
                    <a:cubicBezTo>
                      <a:pt x="91" y="21"/>
                      <a:pt x="71" y="0"/>
                      <a:pt x="46" y="0"/>
                    </a:cubicBezTo>
                    <a:cubicBezTo>
                      <a:pt x="20" y="0"/>
                      <a:pt x="0" y="21"/>
                      <a:pt x="0" y="46"/>
                    </a:cubicBezTo>
                    <a:cubicBezTo>
                      <a:pt x="0" y="72"/>
                      <a:pt x="20" y="92"/>
                      <a:pt x="46" y="92"/>
                    </a:cubicBezTo>
                    <a:cubicBezTo>
                      <a:pt x="71" y="92"/>
                      <a:pt x="91" y="72"/>
                      <a:pt x="91" y="46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Freeform 17">
                <a:extLst>
                  <a:ext uri="{FF2B5EF4-FFF2-40B4-BE49-F238E27FC236}">
                    <a16:creationId xmlns:a16="http://schemas.microsoft.com/office/drawing/2014/main" id="{88A3728E-03B3-D28A-8E73-50A612438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500" y="1147763"/>
                <a:ext cx="355598" cy="681036"/>
              </a:xfrm>
              <a:custGeom>
                <a:avLst/>
                <a:gdLst>
                  <a:gd name="T0" fmla="*/ 262 w 613"/>
                  <a:gd name="T1" fmla="*/ 1170 h 1171"/>
                  <a:gd name="T2" fmla="*/ 262 w 613"/>
                  <a:gd name="T3" fmla="*/ 1170 h 1171"/>
                  <a:gd name="T4" fmla="*/ 286 w 613"/>
                  <a:gd name="T5" fmla="*/ 1154 h 1171"/>
                  <a:gd name="T6" fmla="*/ 325 w 613"/>
                  <a:gd name="T7" fmla="*/ 1154 h 1171"/>
                  <a:gd name="T8" fmla="*/ 349 w 613"/>
                  <a:gd name="T9" fmla="*/ 1171 h 1171"/>
                  <a:gd name="T10" fmla="*/ 501 w 613"/>
                  <a:gd name="T11" fmla="*/ 980 h 1171"/>
                  <a:gd name="T12" fmla="*/ 501 w 613"/>
                  <a:gd name="T13" fmla="*/ 874 h 1171"/>
                  <a:gd name="T14" fmla="*/ 487 w 613"/>
                  <a:gd name="T15" fmla="*/ 870 h 1171"/>
                  <a:gd name="T16" fmla="*/ 482 w 613"/>
                  <a:gd name="T17" fmla="*/ 783 h 1171"/>
                  <a:gd name="T18" fmla="*/ 543 w 613"/>
                  <a:gd name="T19" fmla="*/ 628 h 1171"/>
                  <a:gd name="T20" fmla="*/ 588 w 613"/>
                  <a:gd name="T21" fmla="*/ 545 h 1171"/>
                  <a:gd name="T22" fmla="*/ 577 w 613"/>
                  <a:gd name="T23" fmla="*/ 441 h 1171"/>
                  <a:gd name="T24" fmla="*/ 594 w 613"/>
                  <a:gd name="T25" fmla="*/ 259 h 1171"/>
                  <a:gd name="T26" fmla="*/ 539 w 613"/>
                  <a:gd name="T27" fmla="*/ 153 h 1171"/>
                  <a:gd name="T28" fmla="*/ 454 w 613"/>
                  <a:gd name="T29" fmla="*/ 61 h 1171"/>
                  <a:gd name="T30" fmla="*/ 272 w 613"/>
                  <a:gd name="T31" fmla="*/ 31 h 1171"/>
                  <a:gd name="T32" fmla="*/ 194 w 613"/>
                  <a:gd name="T33" fmla="*/ 0 h 1171"/>
                  <a:gd name="T34" fmla="*/ 230 w 613"/>
                  <a:gd name="T35" fmla="*/ 42 h 1171"/>
                  <a:gd name="T36" fmla="*/ 182 w 613"/>
                  <a:gd name="T37" fmla="*/ 37 h 1171"/>
                  <a:gd name="T38" fmla="*/ 218 w 613"/>
                  <a:gd name="T39" fmla="*/ 53 h 1171"/>
                  <a:gd name="T40" fmla="*/ 79 w 613"/>
                  <a:gd name="T41" fmla="*/ 153 h 1171"/>
                  <a:gd name="T42" fmla="*/ 23 w 613"/>
                  <a:gd name="T43" fmla="*/ 259 h 1171"/>
                  <a:gd name="T44" fmla="*/ 36 w 613"/>
                  <a:gd name="T45" fmla="*/ 441 h 1171"/>
                  <a:gd name="T46" fmla="*/ 25 w 613"/>
                  <a:gd name="T47" fmla="*/ 545 h 1171"/>
                  <a:gd name="T48" fmla="*/ 70 w 613"/>
                  <a:gd name="T49" fmla="*/ 628 h 1171"/>
                  <a:gd name="T50" fmla="*/ 131 w 613"/>
                  <a:gd name="T51" fmla="*/ 783 h 1171"/>
                  <a:gd name="T52" fmla="*/ 126 w 613"/>
                  <a:gd name="T53" fmla="*/ 870 h 1171"/>
                  <a:gd name="T54" fmla="*/ 110 w 613"/>
                  <a:gd name="T55" fmla="*/ 875 h 1171"/>
                  <a:gd name="T56" fmla="*/ 110 w 613"/>
                  <a:gd name="T57" fmla="*/ 980 h 1171"/>
                  <a:gd name="T58" fmla="*/ 262 w 613"/>
                  <a:gd name="T59" fmla="*/ 1170 h 1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13" h="1171">
                    <a:moveTo>
                      <a:pt x="262" y="1170"/>
                    </a:moveTo>
                    <a:lnTo>
                      <a:pt x="262" y="1170"/>
                    </a:lnTo>
                    <a:cubicBezTo>
                      <a:pt x="265" y="1161"/>
                      <a:pt x="275" y="1154"/>
                      <a:pt x="286" y="1154"/>
                    </a:cubicBezTo>
                    <a:lnTo>
                      <a:pt x="325" y="1154"/>
                    </a:lnTo>
                    <a:cubicBezTo>
                      <a:pt x="336" y="1154"/>
                      <a:pt x="345" y="1161"/>
                      <a:pt x="349" y="1171"/>
                    </a:cubicBezTo>
                    <a:cubicBezTo>
                      <a:pt x="436" y="1151"/>
                      <a:pt x="501" y="1073"/>
                      <a:pt x="501" y="980"/>
                    </a:cubicBezTo>
                    <a:lnTo>
                      <a:pt x="501" y="874"/>
                    </a:lnTo>
                    <a:cubicBezTo>
                      <a:pt x="497" y="873"/>
                      <a:pt x="492" y="871"/>
                      <a:pt x="487" y="870"/>
                    </a:cubicBezTo>
                    <a:cubicBezTo>
                      <a:pt x="487" y="870"/>
                      <a:pt x="480" y="797"/>
                      <a:pt x="482" y="783"/>
                    </a:cubicBezTo>
                    <a:cubicBezTo>
                      <a:pt x="483" y="770"/>
                      <a:pt x="543" y="736"/>
                      <a:pt x="543" y="628"/>
                    </a:cubicBezTo>
                    <a:cubicBezTo>
                      <a:pt x="543" y="628"/>
                      <a:pt x="569" y="631"/>
                      <a:pt x="588" y="545"/>
                    </a:cubicBezTo>
                    <a:cubicBezTo>
                      <a:pt x="607" y="458"/>
                      <a:pt x="613" y="441"/>
                      <a:pt x="577" y="441"/>
                    </a:cubicBezTo>
                    <a:cubicBezTo>
                      <a:pt x="577" y="441"/>
                      <a:pt x="587" y="351"/>
                      <a:pt x="594" y="259"/>
                    </a:cubicBezTo>
                    <a:cubicBezTo>
                      <a:pt x="600" y="167"/>
                      <a:pt x="539" y="153"/>
                      <a:pt x="539" y="153"/>
                    </a:cubicBezTo>
                    <a:cubicBezTo>
                      <a:pt x="539" y="113"/>
                      <a:pt x="518" y="98"/>
                      <a:pt x="454" y="61"/>
                    </a:cubicBezTo>
                    <a:cubicBezTo>
                      <a:pt x="389" y="25"/>
                      <a:pt x="314" y="35"/>
                      <a:pt x="272" y="31"/>
                    </a:cubicBezTo>
                    <a:cubicBezTo>
                      <a:pt x="229" y="28"/>
                      <a:pt x="194" y="0"/>
                      <a:pt x="194" y="0"/>
                    </a:cubicBezTo>
                    <a:cubicBezTo>
                      <a:pt x="200" y="22"/>
                      <a:pt x="230" y="42"/>
                      <a:pt x="230" y="42"/>
                    </a:cubicBezTo>
                    <a:cubicBezTo>
                      <a:pt x="216" y="42"/>
                      <a:pt x="182" y="37"/>
                      <a:pt x="182" y="37"/>
                    </a:cubicBezTo>
                    <a:cubicBezTo>
                      <a:pt x="197" y="51"/>
                      <a:pt x="218" y="53"/>
                      <a:pt x="218" y="53"/>
                    </a:cubicBezTo>
                    <a:cubicBezTo>
                      <a:pt x="117" y="73"/>
                      <a:pt x="94" y="123"/>
                      <a:pt x="79" y="153"/>
                    </a:cubicBezTo>
                    <a:cubicBezTo>
                      <a:pt x="65" y="183"/>
                      <a:pt x="23" y="197"/>
                      <a:pt x="23" y="259"/>
                    </a:cubicBezTo>
                    <a:cubicBezTo>
                      <a:pt x="23" y="321"/>
                      <a:pt x="36" y="441"/>
                      <a:pt x="36" y="441"/>
                    </a:cubicBezTo>
                    <a:cubicBezTo>
                      <a:pt x="0" y="441"/>
                      <a:pt x="6" y="458"/>
                      <a:pt x="25" y="545"/>
                    </a:cubicBezTo>
                    <a:cubicBezTo>
                      <a:pt x="44" y="631"/>
                      <a:pt x="70" y="628"/>
                      <a:pt x="70" y="628"/>
                    </a:cubicBezTo>
                    <a:cubicBezTo>
                      <a:pt x="70" y="736"/>
                      <a:pt x="130" y="770"/>
                      <a:pt x="131" y="783"/>
                    </a:cubicBezTo>
                    <a:cubicBezTo>
                      <a:pt x="133" y="797"/>
                      <a:pt x="126" y="870"/>
                      <a:pt x="126" y="870"/>
                    </a:cubicBezTo>
                    <a:cubicBezTo>
                      <a:pt x="120" y="871"/>
                      <a:pt x="115" y="873"/>
                      <a:pt x="110" y="875"/>
                    </a:cubicBezTo>
                    <a:lnTo>
                      <a:pt x="110" y="980"/>
                    </a:lnTo>
                    <a:cubicBezTo>
                      <a:pt x="110" y="1073"/>
                      <a:pt x="175" y="1150"/>
                      <a:pt x="262" y="117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Freeform 18">
                <a:extLst>
                  <a:ext uri="{FF2B5EF4-FFF2-40B4-BE49-F238E27FC236}">
                    <a16:creationId xmlns:a16="http://schemas.microsoft.com/office/drawing/2014/main" id="{6289E14D-2C8D-C73C-02FF-2CC8E9C13F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" y="1728788"/>
                <a:ext cx="844550" cy="334963"/>
              </a:xfrm>
              <a:custGeom>
                <a:avLst/>
                <a:gdLst>
                  <a:gd name="T0" fmla="*/ 463 w 1452"/>
                  <a:gd name="T1" fmla="*/ 380 h 575"/>
                  <a:gd name="T2" fmla="*/ 463 w 1452"/>
                  <a:gd name="T3" fmla="*/ 380 h 575"/>
                  <a:gd name="T4" fmla="*/ 377 w 1452"/>
                  <a:gd name="T5" fmla="*/ 380 h 575"/>
                  <a:gd name="T6" fmla="*/ 377 w 1452"/>
                  <a:gd name="T7" fmla="*/ 466 h 575"/>
                  <a:gd name="T8" fmla="*/ 316 w 1452"/>
                  <a:gd name="T9" fmla="*/ 466 h 575"/>
                  <a:gd name="T10" fmla="*/ 316 w 1452"/>
                  <a:gd name="T11" fmla="*/ 380 h 575"/>
                  <a:gd name="T12" fmla="*/ 229 w 1452"/>
                  <a:gd name="T13" fmla="*/ 380 h 575"/>
                  <a:gd name="T14" fmla="*/ 229 w 1452"/>
                  <a:gd name="T15" fmla="*/ 318 h 575"/>
                  <a:gd name="T16" fmla="*/ 316 w 1452"/>
                  <a:gd name="T17" fmla="*/ 318 h 575"/>
                  <a:gd name="T18" fmla="*/ 316 w 1452"/>
                  <a:gd name="T19" fmla="*/ 232 h 575"/>
                  <a:gd name="T20" fmla="*/ 377 w 1452"/>
                  <a:gd name="T21" fmla="*/ 232 h 575"/>
                  <a:gd name="T22" fmla="*/ 377 w 1452"/>
                  <a:gd name="T23" fmla="*/ 318 h 575"/>
                  <a:gd name="T24" fmla="*/ 463 w 1452"/>
                  <a:gd name="T25" fmla="*/ 318 h 575"/>
                  <a:gd name="T26" fmla="*/ 463 w 1452"/>
                  <a:gd name="T27" fmla="*/ 380 h 575"/>
                  <a:gd name="T28" fmla="*/ 463 w 1452"/>
                  <a:gd name="T29" fmla="*/ 380 h 575"/>
                  <a:gd name="T30" fmla="*/ 1357 w 1452"/>
                  <a:gd name="T31" fmla="*/ 186 h 575"/>
                  <a:gd name="T32" fmla="*/ 1357 w 1452"/>
                  <a:gd name="T33" fmla="*/ 186 h 575"/>
                  <a:gd name="T34" fmla="*/ 984 w 1452"/>
                  <a:gd name="T35" fmla="*/ 13 h 575"/>
                  <a:gd name="T36" fmla="*/ 971 w 1452"/>
                  <a:gd name="T37" fmla="*/ 0 h 575"/>
                  <a:gd name="T38" fmla="*/ 769 w 1452"/>
                  <a:gd name="T39" fmla="*/ 223 h 575"/>
                  <a:gd name="T40" fmla="*/ 744 w 1452"/>
                  <a:gd name="T41" fmla="*/ 245 h 575"/>
                  <a:gd name="T42" fmla="*/ 743 w 1452"/>
                  <a:gd name="T43" fmla="*/ 245 h 575"/>
                  <a:gd name="T44" fmla="*/ 743 w 1452"/>
                  <a:gd name="T45" fmla="*/ 330 h 575"/>
                  <a:gd name="T46" fmla="*/ 892 w 1452"/>
                  <a:gd name="T47" fmla="*/ 479 h 575"/>
                  <a:gd name="T48" fmla="*/ 1042 w 1452"/>
                  <a:gd name="T49" fmla="*/ 330 h 575"/>
                  <a:gd name="T50" fmla="*/ 1042 w 1452"/>
                  <a:gd name="T51" fmla="*/ 270 h 575"/>
                  <a:gd name="T52" fmla="*/ 969 w 1452"/>
                  <a:gd name="T53" fmla="*/ 186 h 575"/>
                  <a:gd name="T54" fmla="*/ 1055 w 1452"/>
                  <a:gd name="T55" fmla="*/ 101 h 575"/>
                  <a:gd name="T56" fmla="*/ 1140 w 1452"/>
                  <a:gd name="T57" fmla="*/ 186 h 575"/>
                  <a:gd name="T58" fmla="*/ 1082 w 1452"/>
                  <a:gd name="T59" fmla="*/ 267 h 575"/>
                  <a:gd name="T60" fmla="*/ 1082 w 1452"/>
                  <a:gd name="T61" fmla="*/ 330 h 575"/>
                  <a:gd name="T62" fmla="*/ 892 w 1452"/>
                  <a:gd name="T63" fmla="*/ 519 h 575"/>
                  <a:gd name="T64" fmla="*/ 703 w 1452"/>
                  <a:gd name="T65" fmla="*/ 330 h 575"/>
                  <a:gd name="T66" fmla="*/ 703 w 1452"/>
                  <a:gd name="T67" fmla="*/ 245 h 575"/>
                  <a:gd name="T68" fmla="*/ 679 w 1452"/>
                  <a:gd name="T69" fmla="*/ 223 h 575"/>
                  <a:gd name="T70" fmla="*/ 478 w 1452"/>
                  <a:gd name="T71" fmla="*/ 2 h 575"/>
                  <a:gd name="T72" fmla="*/ 467 w 1452"/>
                  <a:gd name="T73" fmla="*/ 13 h 575"/>
                  <a:gd name="T74" fmla="*/ 94 w 1452"/>
                  <a:gd name="T75" fmla="*/ 186 h 575"/>
                  <a:gd name="T76" fmla="*/ 6 w 1452"/>
                  <a:gd name="T77" fmla="*/ 575 h 575"/>
                  <a:gd name="T78" fmla="*/ 1445 w 1452"/>
                  <a:gd name="T79" fmla="*/ 575 h 575"/>
                  <a:gd name="T80" fmla="*/ 1357 w 1452"/>
                  <a:gd name="T81" fmla="*/ 186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52" h="575">
                    <a:moveTo>
                      <a:pt x="463" y="380"/>
                    </a:moveTo>
                    <a:lnTo>
                      <a:pt x="463" y="380"/>
                    </a:lnTo>
                    <a:lnTo>
                      <a:pt x="377" y="380"/>
                    </a:lnTo>
                    <a:lnTo>
                      <a:pt x="377" y="466"/>
                    </a:lnTo>
                    <a:lnTo>
                      <a:pt x="316" y="466"/>
                    </a:lnTo>
                    <a:lnTo>
                      <a:pt x="316" y="380"/>
                    </a:lnTo>
                    <a:lnTo>
                      <a:pt x="229" y="380"/>
                    </a:lnTo>
                    <a:lnTo>
                      <a:pt x="229" y="318"/>
                    </a:lnTo>
                    <a:lnTo>
                      <a:pt x="316" y="318"/>
                    </a:lnTo>
                    <a:lnTo>
                      <a:pt x="316" y="232"/>
                    </a:lnTo>
                    <a:lnTo>
                      <a:pt x="377" y="232"/>
                    </a:lnTo>
                    <a:lnTo>
                      <a:pt x="377" y="318"/>
                    </a:lnTo>
                    <a:lnTo>
                      <a:pt x="463" y="318"/>
                    </a:lnTo>
                    <a:lnTo>
                      <a:pt x="463" y="380"/>
                    </a:lnTo>
                    <a:lnTo>
                      <a:pt x="463" y="380"/>
                    </a:lnTo>
                    <a:close/>
                    <a:moveTo>
                      <a:pt x="1357" y="186"/>
                    </a:moveTo>
                    <a:lnTo>
                      <a:pt x="1357" y="186"/>
                    </a:lnTo>
                    <a:cubicBezTo>
                      <a:pt x="1263" y="145"/>
                      <a:pt x="997" y="21"/>
                      <a:pt x="984" y="13"/>
                    </a:cubicBezTo>
                    <a:cubicBezTo>
                      <a:pt x="980" y="11"/>
                      <a:pt x="976" y="7"/>
                      <a:pt x="971" y="0"/>
                    </a:cubicBezTo>
                    <a:cubicBezTo>
                      <a:pt x="962" y="112"/>
                      <a:pt x="878" y="203"/>
                      <a:pt x="769" y="223"/>
                    </a:cubicBezTo>
                    <a:cubicBezTo>
                      <a:pt x="767" y="236"/>
                      <a:pt x="757" y="245"/>
                      <a:pt x="744" y="245"/>
                    </a:cubicBezTo>
                    <a:lnTo>
                      <a:pt x="743" y="245"/>
                    </a:lnTo>
                    <a:lnTo>
                      <a:pt x="743" y="330"/>
                    </a:lnTo>
                    <a:cubicBezTo>
                      <a:pt x="743" y="412"/>
                      <a:pt x="810" y="479"/>
                      <a:pt x="892" y="479"/>
                    </a:cubicBezTo>
                    <a:cubicBezTo>
                      <a:pt x="975" y="479"/>
                      <a:pt x="1042" y="412"/>
                      <a:pt x="1042" y="330"/>
                    </a:cubicBezTo>
                    <a:lnTo>
                      <a:pt x="1042" y="270"/>
                    </a:lnTo>
                    <a:cubicBezTo>
                      <a:pt x="1001" y="264"/>
                      <a:pt x="969" y="229"/>
                      <a:pt x="969" y="186"/>
                    </a:cubicBezTo>
                    <a:cubicBezTo>
                      <a:pt x="969" y="139"/>
                      <a:pt x="1008" y="101"/>
                      <a:pt x="1055" y="101"/>
                    </a:cubicBezTo>
                    <a:cubicBezTo>
                      <a:pt x="1102" y="101"/>
                      <a:pt x="1140" y="139"/>
                      <a:pt x="1140" y="186"/>
                    </a:cubicBezTo>
                    <a:cubicBezTo>
                      <a:pt x="1140" y="224"/>
                      <a:pt x="1115" y="255"/>
                      <a:pt x="1082" y="267"/>
                    </a:cubicBezTo>
                    <a:lnTo>
                      <a:pt x="1082" y="330"/>
                    </a:lnTo>
                    <a:cubicBezTo>
                      <a:pt x="1082" y="434"/>
                      <a:pt x="997" y="519"/>
                      <a:pt x="892" y="519"/>
                    </a:cubicBezTo>
                    <a:cubicBezTo>
                      <a:pt x="788" y="519"/>
                      <a:pt x="703" y="434"/>
                      <a:pt x="703" y="330"/>
                    </a:cubicBezTo>
                    <a:lnTo>
                      <a:pt x="703" y="245"/>
                    </a:lnTo>
                    <a:cubicBezTo>
                      <a:pt x="691" y="244"/>
                      <a:pt x="681" y="235"/>
                      <a:pt x="679" y="223"/>
                    </a:cubicBezTo>
                    <a:cubicBezTo>
                      <a:pt x="572" y="203"/>
                      <a:pt x="488" y="113"/>
                      <a:pt x="478" y="2"/>
                    </a:cubicBezTo>
                    <a:cubicBezTo>
                      <a:pt x="474" y="8"/>
                      <a:pt x="471" y="11"/>
                      <a:pt x="467" y="13"/>
                    </a:cubicBezTo>
                    <a:cubicBezTo>
                      <a:pt x="454" y="21"/>
                      <a:pt x="188" y="145"/>
                      <a:pt x="94" y="186"/>
                    </a:cubicBezTo>
                    <a:cubicBezTo>
                      <a:pt x="0" y="227"/>
                      <a:pt x="6" y="575"/>
                      <a:pt x="6" y="575"/>
                    </a:cubicBezTo>
                    <a:lnTo>
                      <a:pt x="1445" y="575"/>
                    </a:lnTo>
                    <a:cubicBezTo>
                      <a:pt x="1445" y="575"/>
                      <a:pt x="1452" y="227"/>
                      <a:pt x="1357" y="186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DEA454C-59D7-B9C3-F0DF-F74486D4D648}"/>
                </a:ext>
              </a:extLst>
            </p:cNvPr>
            <p:cNvSpPr txBox="1"/>
            <p:nvPr/>
          </p:nvSpPr>
          <p:spPr>
            <a:xfrm>
              <a:off x="92934" y="3035656"/>
              <a:ext cx="6400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HCP 1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A2A9BD2-B480-4735-4E68-EFB0B5649899}"/>
              </a:ext>
            </a:extLst>
          </p:cNvPr>
          <p:cNvGrpSpPr/>
          <p:nvPr/>
        </p:nvGrpSpPr>
        <p:grpSpPr>
          <a:xfrm>
            <a:off x="352160" y="3783076"/>
            <a:ext cx="640080" cy="797176"/>
            <a:chOff x="92934" y="3787481"/>
            <a:chExt cx="640080" cy="797176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67044B1A-46D0-1E31-58BE-F4C0ABD64D2C}"/>
                </a:ext>
              </a:extLst>
            </p:cNvPr>
            <p:cNvGrpSpPr>
              <a:grpSpLocks/>
            </p:cNvGrpSpPr>
            <p:nvPr/>
          </p:nvGrpSpPr>
          <p:grpSpPr>
            <a:xfrm>
              <a:off x="164408" y="3787481"/>
              <a:ext cx="497142" cy="557942"/>
              <a:chOff x="454025" y="1147763"/>
              <a:chExt cx="844550" cy="915988"/>
            </a:xfrm>
            <a:solidFill>
              <a:schemeClr val="accent6"/>
            </a:solidFill>
          </p:grpSpPr>
          <p:sp>
            <p:nvSpPr>
              <p:cNvPr id="43" name="Freeform 16">
                <a:extLst>
                  <a:ext uri="{FF2B5EF4-FFF2-40B4-BE49-F238E27FC236}">
                    <a16:creationId xmlns:a16="http://schemas.microsoft.com/office/drawing/2014/main" id="{4BCCCCF4-D99E-947C-C927-A4C19A16E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400" y="1809750"/>
                <a:ext cx="52388" cy="53975"/>
              </a:xfrm>
              <a:custGeom>
                <a:avLst/>
                <a:gdLst>
                  <a:gd name="T0" fmla="*/ 91 w 91"/>
                  <a:gd name="T1" fmla="*/ 46 h 92"/>
                  <a:gd name="T2" fmla="*/ 91 w 91"/>
                  <a:gd name="T3" fmla="*/ 46 h 92"/>
                  <a:gd name="T4" fmla="*/ 46 w 91"/>
                  <a:gd name="T5" fmla="*/ 0 h 92"/>
                  <a:gd name="T6" fmla="*/ 0 w 91"/>
                  <a:gd name="T7" fmla="*/ 46 h 92"/>
                  <a:gd name="T8" fmla="*/ 46 w 91"/>
                  <a:gd name="T9" fmla="*/ 92 h 92"/>
                  <a:gd name="T10" fmla="*/ 91 w 91"/>
                  <a:gd name="T11" fmla="*/ 4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" h="92">
                    <a:moveTo>
                      <a:pt x="91" y="46"/>
                    </a:moveTo>
                    <a:lnTo>
                      <a:pt x="91" y="46"/>
                    </a:lnTo>
                    <a:cubicBezTo>
                      <a:pt x="91" y="21"/>
                      <a:pt x="71" y="0"/>
                      <a:pt x="46" y="0"/>
                    </a:cubicBezTo>
                    <a:cubicBezTo>
                      <a:pt x="20" y="0"/>
                      <a:pt x="0" y="21"/>
                      <a:pt x="0" y="46"/>
                    </a:cubicBezTo>
                    <a:cubicBezTo>
                      <a:pt x="0" y="72"/>
                      <a:pt x="20" y="92"/>
                      <a:pt x="46" y="92"/>
                    </a:cubicBezTo>
                    <a:cubicBezTo>
                      <a:pt x="71" y="92"/>
                      <a:pt x="91" y="72"/>
                      <a:pt x="91" y="46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Freeform 17">
                <a:extLst>
                  <a:ext uri="{FF2B5EF4-FFF2-40B4-BE49-F238E27FC236}">
                    <a16:creationId xmlns:a16="http://schemas.microsoft.com/office/drawing/2014/main" id="{A23C7AF7-8160-44A1-8136-CDAA9695C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500" y="1147763"/>
                <a:ext cx="355600" cy="681038"/>
              </a:xfrm>
              <a:custGeom>
                <a:avLst/>
                <a:gdLst>
                  <a:gd name="T0" fmla="*/ 262 w 613"/>
                  <a:gd name="T1" fmla="*/ 1170 h 1171"/>
                  <a:gd name="T2" fmla="*/ 262 w 613"/>
                  <a:gd name="T3" fmla="*/ 1170 h 1171"/>
                  <a:gd name="T4" fmla="*/ 286 w 613"/>
                  <a:gd name="T5" fmla="*/ 1154 h 1171"/>
                  <a:gd name="T6" fmla="*/ 325 w 613"/>
                  <a:gd name="T7" fmla="*/ 1154 h 1171"/>
                  <a:gd name="T8" fmla="*/ 349 w 613"/>
                  <a:gd name="T9" fmla="*/ 1171 h 1171"/>
                  <a:gd name="T10" fmla="*/ 501 w 613"/>
                  <a:gd name="T11" fmla="*/ 980 h 1171"/>
                  <a:gd name="T12" fmla="*/ 501 w 613"/>
                  <a:gd name="T13" fmla="*/ 874 h 1171"/>
                  <a:gd name="T14" fmla="*/ 487 w 613"/>
                  <a:gd name="T15" fmla="*/ 870 h 1171"/>
                  <a:gd name="T16" fmla="*/ 482 w 613"/>
                  <a:gd name="T17" fmla="*/ 783 h 1171"/>
                  <a:gd name="T18" fmla="*/ 543 w 613"/>
                  <a:gd name="T19" fmla="*/ 628 h 1171"/>
                  <a:gd name="T20" fmla="*/ 588 w 613"/>
                  <a:gd name="T21" fmla="*/ 545 h 1171"/>
                  <a:gd name="T22" fmla="*/ 577 w 613"/>
                  <a:gd name="T23" fmla="*/ 441 h 1171"/>
                  <a:gd name="T24" fmla="*/ 594 w 613"/>
                  <a:gd name="T25" fmla="*/ 259 h 1171"/>
                  <a:gd name="T26" fmla="*/ 539 w 613"/>
                  <a:gd name="T27" fmla="*/ 153 h 1171"/>
                  <a:gd name="T28" fmla="*/ 454 w 613"/>
                  <a:gd name="T29" fmla="*/ 61 h 1171"/>
                  <a:gd name="T30" fmla="*/ 272 w 613"/>
                  <a:gd name="T31" fmla="*/ 31 h 1171"/>
                  <a:gd name="T32" fmla="*/ 194 w 613"/>
                  <a:gd name="T33" fmla="*/ 0 h 1171"/>
                  <a:gd name="T34" fmla="*/ 230 w 613"/>
                  <a:gd name="T35" fmla="*/ 42 h 1171"/>
                  <a:gd name="T36" fmla="*/ 182 w 613"/>
                  <a:gd name="T37" fmla="*/ 37 h 1171"/>
                  <a:gd name="T38" fmla="*/ 218 w 613"/>
                  <a:gd name="T39" fmla="*/ 53 h 1171"/>
                  <a:gd name="T40" fmla="*/ 79 w 613"/>
                  <a:gd name="T41" fmla="*/ 153 h 1171"/>
                  <a:gd name="T42" fmla="*/ 23 w 613"/>
                  <a:gd name="T43" fmla="*/ 259 h 1171"/>
                  <a:gd name="T44" fmla="*/ 36 w 613"/>
                  <a:gd name="T45" fmla="*/ 441 h 1171"/>
                  <a:gd name="T46" fmla="*/ 25 w 613"/>
                  <a:gd name="T47" fmla="*/ 545 h 1171"/>
                  <a:gd name="T48" fmla="*/ 70 w 613"/>
                  <a:gd name="T49" fmla="*/ 628 h 1171"/>
                  <a:gd name="T50" fmla="*/ 131 w 613"/>
                  <a:gd name="T51" fmla="*/ 783 h 1171"/>
                  <a:gd name="T52" fmla="*/ 126 w 613"/>
                  <a:gd name="T53" fmla="*/ 870 h 1171"/>
                  <a:gd name="T54" fmla="*/ 110 w 613"/>
                  <a:gd name="T55" fmla="*/ 875 h 1171"/>
                  <a:gd name="T56" fmla="*/ 110 w 613"/>
                  <a:gd name="T57" fmla="*/ 980 h 1171"/>
                  <a:gd name="T58" fmla="*/ 262 w 613"/>
                  <a:gd name="T59" fmla="*/ 1170 h 1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13" h="1171">
                    <a:moveTo>
                      <a:pt x="262" y="1170"/>
                    </a:moveTo>
                    <a:lnTo>
                      <a:pt x="262" y="1170"/>
                    </a:lnTo>
                    <a:cubicBezTo>
                      <a:pt x="265" y="1161"/>
                      <a:pt x="275" y="1154"/>
                      <a:pt x="286" y="1154"/>
                    </a:cubicBezTo>
                    <a:lnTo>
                      <a:pt x="325" y="1154"/>
                    </a:lnTo>
                    <a:cubicBezTo>
                      <a:pt x="336" y="1154"/>
                      <a:pt x="345" y="1161"/>
                      <a:pt x="349" y="1171"/>
                    </a:cubicBezTo>
                    <a:cubicBezTo>
                      <a:pt x="436" y="1151"/>
                      <a:pt x="501" y="1073"/>
                      <a:pt x="501" y="980"/>
                    </a:cubicBezTo>
                    <a:lnTo>
                      <a:pt x="501" y="874"/>
                    </a:lnTo>
                    <a:cubicBezTo>
                      <a:pt x="497" y="873"/>
                      <a:pt x="492" y="871"/>
                      <a:pt x="487" y="870"/>
                    </a:cubicBezTo>
                    <a:cubicBezTo>
                      <a:pt x="487" y="870"/>
                      <a:pt x="480" y="797"/>
                      <a:pt x="482" y="783"/>
                    </a:cubicBezTo>
                    <a:cubicBezTo>
                      <a:pt x="483" y="770"/>
                      <a:pt x="543" y="736"/>
                      <a:pt x="543" y="628"/>
                    </a:cubicBezTo>
                    <a:cubicBezTo>
                      <a:pt x="543" y="628"/>
                      <a:pt x="569" y="631"/>
                      <a:pt x="588" y="545"/>
                    </a:cubicBezTo>
                    <a:cubicBezTo>
                      <a:pt x="607" y="458"/>
                      <a:pt x="613" y="441"/>
                      <a:pt x="577" y="441"/>
                    </a:cubicBezTo>
                    <a:cubicBezTo>
                      <a:pt x="577" y="441"/>
                      <a:pt x="587" y="351"/>
                      <a:pt x="594" y="259"/>
                    </a:cubicBezTo>
                    <a:cubicBezTo>
                      <a:pt x="600" y="167"/>
                      <a:pt x="539" y="153"/>
                      <a:pt x="539" y="153"/>
                    </a:cubicBezTo>
                    <a:cubicBezTo>
                      <a:pt x="539" y="113"/>
                      <a:pt x="518" y="98"/>
                      <a:pt x="454" y="61"/>
                    </a:cubicBezTo>
                    <a:cubicBezTo>
                      <a:pt x="389" y="25"/>
                      <a:pt x="314" y="35"/>
                      <a:pt x="272" y="31"/>
                    </a:cubicBezTo>
                    <a:cubicBezTo>
                      <a:pt x="229" y="28"/>
                      <a:pt x="194" y="0"/>
                      <a:pt x="194" y="0"/>
                    </a:cubicBezTo>
                    <a:cubicBezTo>
                      <a:pt x="200" y="22"/>
                      <a:pt x="230" y="42"/>
                      <a:pt x="230" y="42"/>
                    </a:cubicBezTo>
                    <a:cubicBezTo>
                      <a:pt x="216" y="42"/>
                      <a:pt x="182" y="37"/>
                      <a:pt x="182" y="37"/>
                    </a:cubicBezTo>
                    <a:cubicBezTo>
                      <a:pt x="197" y="51"/>
                      <a:pt x="218" y="53"/>
                      <a:pt x="218" y="53"/>
                    </a:cubicBezTo>
                    <a:cubicBezTo>
                      <a:pt x="117" y="73"/>
                      <a:pt x="94" y="123"/>
                      <a:pt x="79" y="153"/>
                    </a:cubicBezTo>
                    <a:cubicBezTo>
                      <a:pt x="65" y="183"/>
                      <a:pt x="23" y="197"/>
                      <a:pt x="23" y="259"/>
                    </a:cubicBezTo>
                    <a:cubicBezTo>
                      <a:pt x="23" y="321"/>
                      <a:pt x="36" y="441"/>
                      <a:pt x="36" y="441"/>
                    </a:cubicBezTo>
                    <a:cubicBezTo>
                      <a:pt x="0" y="441"/>
                      <a:pt x="6" y="458"/>
                      <a:pt x="25" y="545"/>
                    </a:cubicBezTo>
                    <a:cubicBezTo>
                      <a:pt x="44" y="631"/>
                      <a:pt x="70" y="628"/>
                      <a:pt x="70" y="628"/>
                    </a:cubicBezTo>
                    <a:cubicBezTo>
                      <a:pt x="70" y="736"/>
                      <a:pt x="130" y="770"/>
                      <a:pt x="131" y="783"/>
                    </a:cubicBezTo>
                    <a:cubicBezTo>
                      <a:pt x="133" y="797"/>
                      <a:pt x="126" y="870"/>
                      <a:pt x="126" y="870"/>
                    </a:cubicBezTo>
                    <a:cubicBezTo>
                      <a:pt x="120" y="871"/>
                      <a:pt x="115" y="873"/>
                      <a:pt x="110" y="875"/>
                    </a:cubicBezTo>
                    <a:lnTo>
                      <a:pt x="110" y="980"/>
                    </a:lnTo>
                    <a:cubicBezTo>
                      <a:pt x="110" y="1073"/>
                      <a:pt x="175" y="1150"/>
                      <a:pt x="262" y="117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5" name="Freeform 18">
                <a:extLst>
                  <a:ext uri="{FF2B5EF4-FFF2-40B4-BE49-F238E27FC236}">
                    <a16:creationId xmlns:a16="http://schemas.microsoft.com/office/drawing/2014/main" id="{7EEF6276-D0C5-FCBC-5CD4-D8EFA797EF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" y="1728788"/>
                <a:ext cx="844550" cy="334963"/>
              </a:xfrm>
              <a:custGeom>
                <a:avLst/>
                <a:gdLst>
                  <a:gd name="T0" fmla="*/ 463 w 1452"/>
                  <a:gd name="T1" fmla="*/ 380 h 575"/>
                  <a:gd name="T2" fmla="*/ 463 w 1452"/>
                  <a:gd name="T3" fmla="*/ 380 h 575"/>
                  <a:gd name="T4" fmla="*/ 377 w 1452"/>
                  <a:gd name="T5" fmla="*/ 380 h 575"/>
                  <a:gd name="T6" fmla="*/ 377 w 1452"/>
                  <a:gd name="T7" fmla="*/ 466 h 575"/>
                  <a:gd name="T8" fmla="*/ 316 w 1452"/>
                  <a:gd name="T9" fmla="*/ 466 h 575"/>
                  <a:gd name="T10" fmla="*/ 316 w 1452"/>
                  <a:gd name="T11" fmla="*/ 380 h 575"/>
                  <a:gd name="T12" fmla="*/ 229 w 1452"/>
                  <a:gd name="T13" fmla="*/ 380 h 575"/>
                  <a:gd name="T14" fmla="*/ 229 w 1452"/>
                  <a:gd name="T15" fmla="*/ 318 h 575"/>
                  <a:gd name="T16" fmla="*/ 316 w 1452"/>
                  <a:gd name="T17" fmla="*/ 318 h 575"/>
                  <a:gd name="T18" fmla="*/ 316 w 1452"/>
                  <a:gd name="T19" fmla="*/ 232 h 575"/>
                  <a:gd name="T20" fmla="*/ 377 w 1452"/>
                  <a:gd name="T21" fmla="*/ 232 h 575"/>
                  <a:gd name="T22" fmla="*/ 377 w 1452"/>
                  <a:gd name="T23" fmla="*/ 318 h 575"/>
                  <a:gd name="T24" fmla="*/ 463 w 1452"/>
                  <a:gd name="T25" fmla="*/ 318 h 575"/>
                  <a:gd name="T26" fmla="*/ 463 w 1452"/>
                  <a:gd name="T27" fmla="*/ 380 h 575"/>
                  <a:gd name="T28" fmla="*/ 463 w 1452"/>
                  <a:gd name="T29" fmla="*/ 380 h 575"/>
                  <a:gd name="T30" fmla="*/ 1357 w 1452"/>
                  <a:gd name="T31" fmla="*/ 186 h 575"/>
                  <a:gd name="T32" fmla="*/ 1357 w 1452"/>
                  <a:gd name="T33" fmla="*/ 186 h 575"/>
                  <a:gd name="T34" fmla="*/ 984 w 1452"/>
                  <a:gd name="T35" fmla="*/ 13 h 575"/>
                  <a:gd name="T36" fmla="*/ 971 w 1452"/>
                  <a:gd name="T37" fmla="*/ 0 h 575"/>
                  <a:gd name="T38" fmla="*/ 769 w 1452"/>
                  <a:gd name="T39" fmla="*/ 223 h 575"/>
                  <a:gd name="T40" fmla="*/ 744 w 1452"/>
                  <a:gd name="T41" fmla="*/ 245 h 575"/>
                  <a:gd name="T42" fmla="*/ 743 w 1452"/>
                  <a:gd name="T43" fmla="*/ 245 h 575"/>
                  <a:gd name="T44" fmla="*/ 743 w 1452"/>
                  <a:gd name="T45" fmla="*/ 330 h 575"/>
                  <a:gd name="T46" fmla="*/ 892 w 1452"/>
                  <a:gd name="T47" fmla="*/ 479 h 575"/>
                  <a:gd name="T48" fmla="*/ 1042 w 1452"/>
                  <a:gd name="T49" fmla="*/ 330 h 575"/>
                  <a:gd name="T50" fmla="*/ 1042 w 1452"/>
                  <a:gd name="T51" fmla="*/ 270 h 575"/>
                  <a:gd name="T52" fmla="*/ 969 w 1452"/>
                  <a:gd name="T53" fmla="*/ 186 h 575"/>
                  <a:gd name="T54" fmla="*/ 1055 w 1452"/>
                  <a:gd name="T55" fmla="*/ 101 h 575"/>
                  <a:gd name="T56" fmla="*/ 1140 w 1452"/>
                  <a:gd name="T57" fmla="*/ 186 h 575"/>
                  <a:gd name="T58" fmla="*/ 1082 w 1452"/>
                  <a:gd name="T59" fmla="*/ 267 h 575"/>
                  <a:gd name="T60" fmla="*/ 1082 w 1452"/>
                  <a:gd name="T61" fmla="*/ 330 h 575"/>
                  <a:gd name="T62" fmla="*/ 892 w 1452"/>
                  <a:gd name="T63" fmla="*/ 519 h 575"/>
                  <a:gd name="T64" fmla="*/ 703 w 1452"/>
                  <a:gd name="T65" fmla="*/ 330 h 575"/>
                  <a:gd name="T66" fmla="*/ 703 w 1452"/>
                  <a:gd name="T67" fmla="*/ 245 h 575"/>
                  <a:gd name="T68" fmla="*/ 679 w 1452"/>
                  <a:gd name="T69" fmla="*/ 223 h 575"/>
                  <a:gd name="T70" fmla="*/ 478 w 1452"/>
                  <a:gd name="T71" fmla="*/ 2 h 575"/>
                  <a:gd name="T72" fmla="*/ 467 w 1452"/>
                  <a:gd name="T73" fmla="*/ 13 h 575"/>
                  <a:gd name="T74" fmla="*/ 94 w 1452"/>
                  <a:gd name="T75" fmla="*/ 186 h 575"/>
                  <a:gd name="T76" fmla="*/ 6 w 1452"/>
                  <a:gd name="T77" fmla="*/ 575 h 575"/>
                  <a:gd name="T78" fmla="*/ 1445 w 1452"/>
                  <a:gd name="T79" fmla="*/ 575 h 575"/>
                  <a:gd name="T80" fmla="*/ 1357 w 1452"/>
                  <a:gd name="T81" fmla="*/ 186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52" h="575">
                    <a:moveTo>
                      <a:pt x="463" y="380"/>
                    </a:moveTo>
                    <a:lnTo>
                      <a:pt x="463" y="380"/>
                    </a:lnTo>
                    <a:lnTo>
                      <a:pt x="377" y="380"/>
                    </a:lnTo>
                    <a:lnTo>
                      <a:pt x="377" y="466"/>
                    </a:lnTo>
                    <a:lnTo>
                      <a:pt x="316" y="466"/>
                    </a:lnTo>
                    <a:lnTo>
                      <a:pt x="316" y="380"/>
                    </a:lnTo>
                    <a:lnTo>
                      <a:pt x="229" y="380"/>
                    </a:lnTo>
                    <a:lnTo>
                      <a:pt x="229" y="318"/>
                    </a:lnTo>
                    <a:lnTo>
                      <a:pt x="316" y="318"/>
                    </a:lnTo>
                    <a:lnTo>
                      <a:pt x="316" y="232"/>
                    </a:lnTo>
                    <a:lnTo>
                      <a:pt x="377" y="232"/>
                    </a:lnTo>
                    <a:lnTo>
                      <a:pt x="377" y="318"/>
                    </a:lnTo>
                    <a:lnTo>
                      <a:pt x="463" y="318"/>
                    </a:lnTo>
                    <a:lnTo>
                      <a:pt x="463" y="380"/>
                    </a:lnTo>
                    <a:lnTo>
                      <a:pt x="463" y="380"/>
                    </a:lnTo>
                    <a:close/>
                    <a:moveTo>
                      <a:pt x="1357" y="186"/>
                    </a:moveTo>
                    <a:lnTo>
                      <a:pt x="1357" y="186"/>
                    </a:lnTo>
                    <a:cubicBezTo>
                      <a:pt x="1263" y="145"/>
                      <a:pt x="997" y="21"/>
                      <a:pt x="984" y="13"/>
                    </a:cubicBezTo>
                    <a:cubicBezTo>
                      <a:pt x="980" y="11"/>
                      <a:pt x="976" y="7"/>
                      <a:pt x="971" y="0"/>
                    </a:cubicBezTo>
                    <a:cubicBezTo>
                      <a:pt x="962" y="112"/>
                      <a:pt x="878" y="203"/>
                      <a:pt x="769" y="223"/>
                    </a:cubicBezTo>
                    <a:cubicBezTo>
                      <a:pt x="767" y="236"/>
                      <a:pt x="757" y="245"/>
                      <a:pt x="744" y="245"/>
                    </a:cubicBezTo>
                    <a:lnTo>
                      <a:pt x="743" y="245"/>
                    </a:lnTo>
                    <a:lnTo>
                      <a:pt x="743" y="330"/>
                    </a:lnTo>
                    <a:cubicBezTo>
                      <a:pt x="743" y="412"/>
                      <a:pt x="810" y="479"/>
                      <a:pt x="892" y="479"/>
                    </a:cubicBezTo>
                    <a:cubicBezTo>
                      <a:pt x="975" y="479"/>
                      <a:pt x="1042" y="412"/>
                      <a:pt x="1042" y="330"/>
                    </a:cubicBezTo>
                    <a:lnTo>
                      <a:pt x="1042" y="270"/>
                    </a:lnTo>
                    <a:cubicBezTo>
                      <a:pt x="1001" y="264"/>
                      <a:pt x="969" y="229"/>
                      <a:pt x="969" y="186"/>
                    </a:cubicBezTo>
                    <a:cubicBezTo>
                      <a:pt x="969" y="139"/>
                      <a:pt x="1008" y="101"/>
                      <a:pt x="1055" y="101"/>
                    </a:cubicBezTo>
                    <a:cubicBezTo>
                      <a:pt x="1102" y="101"/>
                      <a:pt x="1140" y="139"/>
                      <a:pt x="1140" y="186"/>
                    </a:cubicBezTo>
                    <a:cubicBezTo>
                      <a:pt x="1140" y="224"/>
                      <a:pt x="1115" y="255"/>
                      <a:pt x="1082" y="267"/>
                    </a:cubicBezTo>
                    <a:lnTo>
                      <a:pt x="1082" y="330"/>
                    </a:lnTo>
                    <a:cubicBezTo>
                      <a:pt x="1082" y="434"/>
                      <a:pt x="997" y="519"/>
                      <a:pt x="892" y="519"/>
                    </a:cubicBezTo>
                    <a:cubicBezTo>
                      <a:pt x="788" y="519"/>
                      <a:pt x="703" y="434"/>
                      <a:pt x="703" y="330"/>
                    </a:cubicBezTo>
                    <a:lnTo>
                      <a:pt x="703" y="245"/>
                    </a:lnTo>
                    <a:cubicBezTo>
                      <a:pt x="691" y="244"/>
                      <a:pt x="681" y="235"/>
                      <a:pt x="679" y="223"/>
                    </a:cubicBezTo>
                    <a:cubicBezTo>
                      <a:pt x="572" y="203"/>
                      <a:pt x="488" y="113"/>
                      <a:pt x="478" y="2"/>
                    </a:cubicBezTo>
                    <a:cubicBezTo>
                      <a:pt x="474" y="8"/>
                      <a:pt x="471" y="11"/>
                      <a:pt x="467" y="13"/>
                    </a:cubicBezTo>
                    <a:cubicBezTo>
                      <a:pt x="454" y="21"/>
                      <a:pt x="188" y="145"/>
                      <a:pt x="94" y="186"/>
                    </a:cubicBezTo>
                    <a:cubicBezTo>
                      <a:pt x="0" y="227"/>
                      <a:pt x="6" y="575"/>
                      <a:pt x="6" y="575"/>
                    </a:cubicBezTo>
                    <a:lnTo>
                      <a:pt x="1445" y="575"/>
                    </a:lnTo>
                    <a:cubicBezTo>
                      <a:pt x="1445" y="575"/>
                      <a:pt x="1452" y="227"/>
                      <a:pt x="1357" y="186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6592D1CA-FD19-F73E-40F9-682557D4E66F}"/>
                </a:ext>
              </a:extLst>
            </p:cNvPr>
            <p:cNvSpPr txBox="1"/>
            <p:nvPr/>
          </p:nvSpPr>
          <p:spPr>
            <a:xfrm>
              <a:off x="92934" y="4307658"/>
              <a:ext cx="6400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HCP 2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EA8BC5E-2735-C360-BE5C-EFD23F933662}"/>
              </a:ext>
            </a:extLst>
          </p:cNvPr>
          <p:cNvGrpSpPr/>
          <p:nvPr/>
        </p:nvGrpSpPr>
        <p:grpSpPr>
          <a:xfrm>
            <a:off x="352160" y="4907472"/>
            <a:ext cx="640080" cy="797107"/>
            <a:chOff x="92934" y="5240824"/>
            <a:chExt cx="640080" cy="797107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05780AE4-858F-2A09-F7C9-4276790D3EC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64408" y="5240824"/>
              <a:ext cx="472814" cy="530637"/>
              <a:chOff x="454025" y="1147763"/>
              <a:chExt cx="844550" cy="915988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47" name="Freeform 16">
                <a:extLst>
                  <a:ext uri="{FF2B5EF4-FFF2-40B4-BE49-F238E27FC236}">
                    <a16:creationId xmlns:a16="http://schemas.microsoft.com/office/drawing/2014/main" id="{8F82E23B-781C-7494-E5A7-069A9CEC0B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400" y="1809750"/>
                <a:ext cx="52388" cy="53975"/>
              </a:xfrm>
              <a:custGeom>
                <a:avLst/>
                <a:gdLst>
                  <a:gd name="T0" fmla="*/ 91 w 91"/>
                  <a:gd name="T1" fmla="*/ 46 h 92"/>
                  <a:gd name="T2" fmla="*/ 91 w 91"/>
                  <a:gd name="T3" fmla="*/ 46 h 92"/>
                  <a:gd name="T4" fmla="*/ 46 w 91"/>
                  <a:gd name="T5" fmla="*/ 0 h 92"/>
                  <a:gd name="T6" fmla="*/ 0 w 91"/>
                  <a:gd name="T7" fmla="*/ 46 h 92"/>
                  <a:gd name="T8" fmla="*/ 46 w 91"/>
                  <a:gd name="T9" fmla="*/ 92 h 92"/>
                  <a:gd name="T10" fmla="*/ 91 w 91"/>
                  <a:gd name="T11" fmla="*/ 4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" h="92">
                    <a:moveTo>
                      <a:pt x="91" y="46"/>
                    </a:moveTo>
                    <a:lnTo>
                      <a:pt x="91" y="46"/>
                    </a:lnTo>
                    <a:cubicBezTo>
                      <a:pt x="91" y="21"/>
                      <a:pt x="71" y="0"/>
                      <a:pt x="46" y="0"/>
                    </a:cubicBezTo>
                    <a:cubicBezTo>
                      <a:pt x="20" y="0"/>
                      <a:pt x="0" y="21"/>
                      <a:pt x="0" y="46"/>
                    </a:cubicBezTo>
                    <a:cubicBezTo>
                      <a:pt x="0" y="72"/>
                      <a:pt x="20" y="92"/>
                      <a:pt x="46" y="92"/>
                    </a:cubicBezTo>
                    <a:cubicBezTo>
                      <a:pt x="71" y="92"/>
                      <a:pt x="91" y="72"/>
                      <a:pt x="91" y="46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8" name="Freeform 17">
                <a:extLst>
                  <a:ext uri="{FF2B5EF4-FFF2-40B4-BE49-F238E27FC236}">
                    <a16:creationId xmlns:a16="http://schemas.microsoft.com/office/drawing/2014/main" id="{08DCA4B5-4B83-3C76-550A-58D8F7A69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499" y="1147763"/>
                <a:ext cx="355599" cy="681037"/>
              </a:xfrm>
              <a:custGeom>
                <a:avLst/>
                <a:gdLst>
                  <a:gd name="T0" fmla="*/ 262 w 613"/>
                  <a:gd name="T1" fmla="*/ 1170 h 1171"/>
                  <a:gd name="T2" fmla="*/ 262 w 613"/>
                  <a:gd name="T3" fmla="*/ 1170 h 1171"/>
                  <a:gd name="T4" fmla="*/ 286 w 613"/>
                  <a:gd name="T5" fmla="*/ 1154 h 1171"/>
                  <a:gd name="T6" fmla="*/ 325 w 613"/>
                  <a:gd name="T7" fmla="*/ 1154 h 1171"/>
                  <a:gd name="T8" fmla="*/ 349 w 613"/>
                  <a:gd name="T9" fmla="*/ 1171 h 1171"/>
                  <a:gd name="T10" fmla="*/ 501 w 613"/>
                  <a:gd name="T11" fmla="*/ 980 h 1171"/>
                  <a:gd name="T12" fmla="*/ 501 w 613"/>
                  <a:gd name="T13" fmla="*/ 874 h 1171"/>
                  <a:gd name="T14" fmla="*/ 487 w 613"/>
                  <a:gd name="T15" fmla="*/ 870 h 1171"/>
                  <a:gd name="T16" fmla="*/ 482 w 613"/>
                  <a:gd name="T17" fmla="*/ 783 h 1171"/>
                  <a:gd name="T18" fmla="*/ 543 w 613"/>
                  <a:gd name="T19" fmla="*/ 628 h 1171"/>
                  <a:gd name="T20" fmla="*/ 588 w 613"/>
                  <a:gd name="T21" fmla="*/ 545 h 1171"/>
                  <a:gd name="T22" fmla="*/ 577 w 613"/>
                  <a:gd name="T23" fmla="*/ 441 h 1171"/>
                  <a:gd name="T24" fmla="*/ 594 w 613"/>
                  <a:gd name="T25" fmla="*/ 259 h 1171"/>
                  <a:gd name="T26" fmla="*/ 539 w 613"/>
                  <a:gd name="T27" fmla="*/ 153 h 1171"/>
                  <a:gd name="T28" fmla="*/ 454 w 613"/>
                  <a:gd name="T29" fmla="*/ 61 h 1171"/>
                  <a:gd name="T30" fmla="*/ 272 w 613"/>
                  <a:gd name="T31" fmla="*/ 31 h 1171"/>
                  <a:gd name="T32" fmla="*/ 194 w 613"/>
                  <a:gd name="T33" fmla="*/ 0 h 1171"/>
                  <a:gd name="T34" fmla="*/ 230 w 613"/>
                  <a:gd name="T35" fmla="*/ 42 h 1171"/>
                  <a:gd name="T36" fmla="*/ 182 w 613"/>
                  <a:gd name="T37" fmla="*/ 37 h 1171"/>
                  <a:gd name="T38" fmla="*/ 218 w 613"/>
                  <a:gd name="T39" fmla="*/ 53 h 1171"/>
                  <a:gd name="T40" fmla="*/ 79 w 613"/>
                  <a:gd name="T41" fmla="*/ 153 h 1171"/>
                  <a:gd name="T42" fmla="*/ 23 w 613"/>
                  <a:gd name="T43" fmla="*/ 259 h 1171"/>
                  <a:gd name="T44" fmla="*/ 36 w 613"/>
                  <a:gd name="T45" fmla="*/ 441 h 1171"/>
                  <a:gd name="T46" fmla="*/ 25 w 613"/>
                  <a:gd name="T47" fmla="*/ 545 h 1171"/>
                  <a:gd name="T48" fmla="*/ 70 w 613"/>
                  <a:gd name="T49" fmla="*/ 628 h 1171"/>
                  <a:gd name="T50" fmla="*/ 131 w 613"/>
                  <a:gd name="T51" fmla="*/ 783 h 1171"/>
                  <a:gd name="T52" fmla="*/ 126 w 613"/>
                  <a:gd name="T53" fmla="*/ 870 h 1171"/>
                  <a:gd name="T54" fmla="*/ 110 w 613"/>
                  <a:gd name="T55" fmla="*/ 875 h 1171"/>
                  <a:gd name="T56" fmla="*/ 110 w 613"/>
                  <a:gd name="T57" fmla="*/ 980 h 1171"/>
                  <a:gd name="T58" fmla="*/ 262 w 613"/>
                  <a:gd name="T59" fmla="*/ 1170 h 1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13" h="1171">
                    <a:moveTo>
                      <a:pt x="262" y="1170"/>
                    </a:moveTo>
                    <a:lnTo>
                      <a:pt x="262" y="1170"/>
                    </a:lnTo>
                    <a:cubicBezTo>
                      <a:pt x="265" y="1161"/>
                      <a:pt x="275" y="1154"/>
                      <a:pt x="286" y="1154"/>
                    </a:cubicBezTo>
                    <a:lnTo>
                      <a:pt x="325" y="1154"/>
                    </a:lnTo>
                    <a:cubicBezTo>
                      <a:pt x="336" y="1154"/>
                      <a:pt x="345" y="1161"/>
                      <a:pt x="349" y="1171"/>
                    </a:cubicBezTo>
                    <a:cubicBezTo>
                      <a:pt x="436" y="1151"/>
                      <a:pt x="501" y="1073"/>
                      <a:pt x="501" y="980"/>
                    </a:cubicBezTo>
                    <a:lnTo>
                      <a:pt x="501" y="874"/>
                    </a:lnTo>
                    <a:cubicBezTo>
                      <a:pt x="497" y="873"/>
                      <a:pt x="492" y="871"/>
                      <a:pt x="487" y="870"/>
                    </a:cubicBezTo>
                    <a:cubicBezTo>
                      <a:pt x="487" y="870"/>
                      <a:pt x="480" y="797"/>
                      <a:pt x="482" y="783"/>
                    </a:cubicBezTo>
                    <a:cubicBezTo>
                      <a:pt x="483" y="770"/>
                      <a:pt x="543" y="736"/>
                      <a:pt x="543" y="628"/>
                    </a:cubicBezTo>
                    <a:cubicBezTo>
                      <a:pt x="543" y="628"/>
                      <a:pt x="569" y="631"/>
                      <a:pt x="588" y="545"/>
                    </a:cubicBezTo>
                    <a:cubicBezTo>
                      <a:pt x="607" y="458"/>
                      <a:pt x="613" y="441"/>
                      <a:pt x="577" y="441"/>
                    </a:cubicBezTo>
                    <a:cubicBezTo>
                      <a:pt x="577" y="441"/>
                      <a:pt x="587" y="351"/>
                      <a:pt x="594" y="259"/>
                    </a:cubicBezTo>
                    <a:cubicBezTo>
                      <a:pt x="600" y="167"/>
                      <a:pt x="539" y="153"/>
                      <a:pt x="539" y="153"/>
                    </a:cubicBezTo>
                    <a:cubicBezTo>
                      <a:pt x="539" y="113"/>
                      <a:pt x="518" y="98"/>
                      <a:pt x="454" y="61"/>
                    </a:cubicBezTo>
                    <a:cubicBezTo>
                      <a:pt x="389" y="25"/>
                      <a:pt x="314" y="35"/>
                      <a:pt x="272" y="31"/>
                    </a:cubicBezTo>
                    <a:cubicBezTo>
                      <a:pt x="229" y="28"/>
                      <a:pt x="194" y="0"/>
                      <a:pt x="194" y="0"/>
                    </a:cubicBezTo>
                    <a:cubicBezTo>
                      <a:pt x="200" y="22"/>
                      <a:pt x="230" y="42"/>
                      <a:pt x="230" y="42"/>
                    </a:cubicBezTo>
                    <a:cubicBezTo>
                      <a:pt x="216" y="42"/>
                      <a:pt x="182" y="37"/>
                      <a:pt x="182" y="37"/>
                    </a:cubicBezTo>
                    <a:cubicBezTo>
                      <a:pt x="197" y="51"/>
                      <a:pt x="218" y="53"/>
                      <a:pt x="218" y="53"/>
                    </a:cubicBezTo>
                    <a:cubicBezTo>
                      <a:pt x="117" y="73"/>
                      <a:pt x="94" y="123"/>
                      <a:pt x="79" y="153"/>
                    </a:cubicBezTo>
                    <a:cubicBezTo>
                      <a:pt x="65" y="183"/>
                      <a:pt x="23" y="197"/>
                      <a:pt x="23" y="259"/>
                    </a:cubicBezTo>
                    <a:cubicBezTo>
                      <a:pt x="23" y="321"/>
                      <a:pt x="36" y="441"/>
                      <a:pt x="36" y="441"/>
                    </a:cubicBezTo>
                    <a:cubicBezTo>
                      <a:pt x="0" y="441"/>
                      <a:pt x="6" y="458"/>
                      <a:pt x="25" y="545"/>
                    </a:cubicBezTo>
                    <a:cubicBezTo>
                      <a:pt x="44" y="631"/>
                      <a:pt x="70" y="628"/>
                      <a:pt x="70" y="628"/>
                    </a:cubicBezTo>
                    <a:cubicBezTo>
                      <a:pt x="70" y="736"/>
                      <a:pt x="130" y="770"/>
                      <a:pt x="131" y="783"/>
                    </a:cubicBezTo>
                    <a:cubicBezTo>
                      <a:pt x="133" y="797"/>
                      <a:pt x="126" y="870"/>
                      <a:pt x="126" y="870"/>
                    </a:cubicBezTo>
                    <a:cubicBezTo>
                      <a:pt x="120" y="871"/>
                      <a:pt x="115" y="873"/>
                      <a:pt x="110" y="875"/>
                    </a:cubicBezTo>
                    <a:lnTo>
                      <a:pt x="110" y="980"/>
                    </a:lnTo>
                    <a:cubicBezTo>
                      <a:pt x="110" y="1073"/>
                      <a:pt x="175" y="1150"/>
                      <a:pt x="262" y="117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9" name="Freeform 18">
                <a:extLst>
                  <a:ext uri="{FF2B5EF4-FFF2-40B4-BE49-F238E27FC236}">
                    <a16:creationId xmlns:a16="http://schemas.microsoft.com/office/drawing/2014/main" id="{1C6113EB-6DEC-70AC-113B-5B3390CFE9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" y="1728788"/>
                <a:ext cx="844550" cy="334963"/>
              </a:xfrm>
              <a:custGeom>
                <a:avLst/>
                <a:gdLst>
                  <a:gd name="T0" fmla="*/ 463 w 1452"/>
                  <a:gd name="T1" fmla="*/ 380 h 575"/>
                  <a:gd name="T2" fmla="*/ 463 w 1452"/>
                  <a:gd name="T3" fmla="*/ 380 h 575"/>
                  <a:gd name="T4" fmla="*/ 377 w 1452"/>
                  <a:gd name="T5" fmla="*/ 380 h 575"/>
                  <a:gd name="T6" fmla="*/ 377 w 1452"/>
                  <a:gd name="T7" fmla="*/ 466 h 575"/>
                  <a:gd name="T8" fmla="*/ 316 w 1452"/>
                  <a:gd name="T9" fmla="*/ 466 h 575"/>
                  <a:gd name="T10" fmla="*/ 316 w 1452"/>
                  <a:gd name="T11" fmla="*/ 380 h 575"/>
                  <a:gd name="T12" fmla="*/ 229 w 1452"/>
                  <a:gd name="T13" fmla="*/ 380 h 575"/>
                  <a:gd name="T14" fmla="*/ 229 w 1452"/>
                  <a:gd name="T15" fmla="*/ 318 h 575"/>
                  <a:gd name="T16" fmla="*/ 316 w 1452"/>
                  <a:gd name="T17" fmla="*/ 318 h 575"/>
                  <a:gd name="T18" fmla="*/ 316 w 1452"/>
                  <a:gd name="T19" fmla="*/ 232 h 575"/>
                  <a:gd name="T20" fmla="*/ 377 w 1452"/>
                  <a:gd name="T21" fmla="*/ 232 h 575"/>
                  <a:gd name="T22" fmla="*/ 377 w 1452"/>
                  <a:gd name="T23" fmla="*/ 318 h 575"/>
                  <a:gd name="T24" fmla="*/ 463 w 1452"/>
                  <a:gd name="T25" fmla="*/ 318 h 575"/>
                  <a:gd name="T26" fmla="*/ 463 w 1452"/>
                  <a:gd name="T27" fmla="*/ 380 h 575"/>
                  <a:gd name="T28" fmla="*/ 463 w 1452"/>
                  <a:gd name="T29" fmla="*/ 380 h 575"/>
                  <a:gd name="T30" fmla="*/ 1357 w 1452"/>
                  <a:gd name="T31" fmla="*/ 186 h 575"/>
                  <a:gd name="T32" fmla="*/ 1357 w 1452"/>
                  <a:gd name="T33" fmla="*/ 186 h 575"/>
                  <a:gd name="T34" fmla="*/ 984 w 1452"/>
                  <a:gd name="T35" fmla="*/ 13 h 575"/>
                  <a:gd name="T36" fmla="*/ 971 w 1452"/>
                  <a:gd name="T37" fmla="*/ 0 h 575"/>
                  <a:gd name="T38" fmla="*/ 769 w 1452"/>
                  <a:gd name="T39" fmla="*/ 223 h 575"/>
                  <a:gd name="T40" fmla="*/ 744 w 1452"/>
                  <a:gd name="T41" fmla="*/ 245 h 575"/>
                  <a:gd name="T42" fmla="*/ 743 w 1452"/>
                  <a:gd name="T43" fmla="*/ 245 h 575"/>
                  <a:gd name="T44" fmla="*/ 743 w 1452"/>
                  <a:gd name="T45" fmla="*/ 330 h 575"/>
                  <a:gd name="T46" fmla="*/ 892 w 1452"/>
                  <a:gd name="T47" fmla="*/ 479 h 575"/>
                  <a:gd name="T48" fmla="*/ 1042 w 1452"/>
                  <a:gd name="T49" fmla="*/ 330 h 575"/>
                  <a:gd name="T50" fmla="*/ 1042 w 1452"/>
                  <a:gd name="T51" fmla="*/ 270 h 575"/>
                  <a:gd name="T52" fmla="*/ 969 w 1452"/>
                  <a:gd name="T53" fmla="*/ 186 h 575"/>
                  <a:gd name="T54" fmla="*/ 1055 w 1452"/>
                  <a:gd name="T55" fmla="*/ 101 h 575"/>
                  <a:gd name="T56" fmla="*/ 1140 w 1452"/>
                  <a:gd name="T57" fmla="*/ 186 h 575"/>
                  <a:gd name="T58" fmla="*/ 1082 w 1452"/>
                  <a:gd name="T59" fmla="*/ 267 h 575"/>
                  <a:gd name="T60" fmla="*/ 1082 w 1452"/>
                  <a:gd name="T61" fmla="*/ 330 h 575"/>
                  <a:gd name="T62" fmla="*/ 892 w 1452"/>
                  <a:gd name="T63" fmla="*/ 519 h 575"/>
                  <a:gd name="T64" fmla="*/ 703 w 1452"/>
                  <a:gd name="T65" fmla="*/ 330 h 575"/>
                  <a:gd name="T66" fmla="*/ 703 w 1452"/>
                  <a:gd name="T67" fmla="*/ 245 h 575"/>
                  <a:gd name="T68" fmla="*/ 679 w 1452"/>
                  <a:gd name="T69" fmla="*/ 223 h 575"/>
                  <a:gd name="T70" fmla="*/ 478 w 1452"/>
                  <a:gd name="T71" fmla="*/ 2 h 575"/>
                  <a:gd name="T72" fmla="*/ 467 w 1452"/>
                  <a:gd name="T73" fmla="*/ 13 h 575"/>
                  <a:gd name="T74" fmla="*/ 94 w 1452"/>
                  <a:gd name="T75" fmla="*/ 186 h 575"/>
                  <a:gd name="T76" fmla="*/ 6 w 1452"/>
                  <a:gd name="T77" fmla="*/ 575 h 575"/>
                  <a:gd name="T78" fmla="*/ 1445 w 1452"/>
                  <a:gd name="T79" fmla="*/ 575 h 575"/>
                  <a:gd name="T80" fmla="*/ 1357 w 1452"/>
                  <a:gd name="T81" fmla="*/ 186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52" h="575">
                    <a:moveTo>
                      <a:pt x="463" y="380"/>
                    </a:moveTo>
                    <a:lnTo>
                      <a:pt x="463" y="380"/>
                    </a:lnTo>
                    <a:lnTo>
                      <a:pt x="377" y="380"/>
                    </a:lnTo>
                    <a:lnTo>
                      <a:pt x="377" y="466"/>
                    </a:lnTo>
                    <a:lnTo>
                      <a:pt x="316" y="466"/>
                    </a:lnTo>
                    <a:lnTo>
                      <a:pt x="316" y="380"/>
                    </a:lnTo>
                    <a:lnTo>
                      <a:pt x="229" y="380"/>
                    </a:lnTo>
                    <a:lnTo>
                      <a:pt x="229" y="318"/>
                    </a:lnTo>
                    <a:lnTo>
                      <a:pt x="316" y="318"/>
                    </a:lnTo>
                    <a:lnTo>
                      <a:pt x="316" y="232"/>
                    </a:lnTo>
                    <a:lnTo>
                      <a:pt x="377" y="232"/>
                    </a:lnTo>
                    <a:lnTo>
                      <a:pt x="377" y="318"/>
                    </a:lnTo>
                    <a:lnTo>
                      <a:pt x="463" y="318"/>
                    </a:lnTo>
                    <a:lnTo>
                      <a:pt x="463" y="380"/>
                    </a:lnTo>
                    <a:lnTo>
                      <a:pt x="463" y="380"/>
                    </a:lnTo>
                    <a:close/>
                    <a:moveTo>
                      <a:pt x="1357" y="186"/>
                    </a:moveTo>
                    <a:lnTo>
                      <a:pt x="1357" y="186"/>
                    </a:lnTo>
                    <a:cubicBezTo>
                      <a:pt x="1263" y="145"/>
                      <a:pt x="997" y="21"/>
                      <a:pt x="984" y="13"/>
                    </a:cubicBezTo>
                    <a:cubicBezTo>
                      <a:pt x="980" y="11"/>
                      <a:pt x="976" y="7"/>
                      <a:pt x="971" y="0"/>
                    </a:cubicBezTo>
                    <a:cubicBezTo>
                      <a:pt x="962" y="112"/>
                      <a:pt x="878" y="203"/>
                      <a:pt x="769" y="223"/>
                    </a:cubicBezTo>
                    <a:cubicBezTo>
                      <a:pt x="767" y="236"/>
                      <a:pt x="757" y="245"/>
                      <a:pt x="744" y="245"/>
                    </a:cubicBezTo>
                    <a:lnTo>
                      <a:pt x="743" y="245"/>
                    </a:lnTo>
                    <a:lnTo>
                      <a:pt x="743" y="330"/>
                    </a:lnTo>
                    <a:cubicBezTo>
                      <a:pt x="743" y="412"/>
                      <a:pt x="810" y="479"/>
                      <a:pt x="892" y="479"/>
                    </a:cubicBezTo>
                    <a:cubicBezTo>
                      <a:pt x="975" y="479"/>
                      <a:pt x="1042" y="412"/>
                      <a:pt x="1042" y="330"/>
                    </a:cubicBezTo>
                    <a:lnTo>
                      <a:pt x="1042" y="270"/>
                    </a:lnTo>
                    <a:cubicBezTo>
                      <a:pt x="1001" y="264"/>
                      <a:pt x="969" y="229"/>
                      <a:pt x="969" y="186"/>
                    </a:cubicBezTo>
                    <a:cubicBezTo>
                      <a:pt x="969" y="139"/>
                      <a:pt x="1008" y="101"/>
                      <a:pt x="1055" y="101"/>
                    </a:cubicBezTo>
                    <a:cubicBezTo>
                      <a:pt x="1102" y="101"/>
                      <a:pt x="1140" y="139"/>
                      <a:pt x="1140" y="186"/>
                    </a:cubicBezTo>
                    <a:cubicBezTo>
                      <a:pt x="1140" y="224"/>
                      <a:pt x="1115" y="255"/>
                      <a:pt x="1082" y="267"/>
                    </a:cubicBezTo>
                    <a:lnTo>
                      <a:pt x="1082" y="330"/>
                    </a:lnTo>
                    <a:cubicBezTo>
                      <a:pt x="1082" y="434"/>
                      <a:pt x="997" y="519"/>
                      <a:pt x="892" y="519"/>
                    </a:cubicBezTo>
                    <a:cubicBezTo>
                      <a:pt x="788" y="519"/>
                      <a:pt x="703" y="434"/>
                      <a:pt x="703" y="330"/>
                    </a:cubicBezTo>
                    <a:lnTo>
                      <a:pt x="703" y="245"/>
                    </a:lnTo>
                    <a:cubicBezTo>
                      <a:pt x="691" y="244"/>
                      <a:pt x="681" y="235"/>
                      <a:pt x="679" y="223"/>
                    </a:cubicBezTo>
                    <a:cubicBezTo>
                      <a:pt x="572" y="203"/>
                      <a:pt x="488" y="113"/>
                      <a:pt x="478" y="2"/>
                    </a:cubicBezTo>
                    <a:cubicBezTo>
                      <a:pt x="474" y="8"/>
                      <a:pt x="471" y="11"/>
                      <a:pt x="467" y="13"/>
                    </a:cubicBezTo>
                    <a:cubicBezTo>
                      <a:pt x="454" y="21"/>
                      <a:pt x="188" y="145"/>
                      <a:pt x="94" y="186"/>
                    </a:cubicBezTo>
                    <a:cubicBezTo>
                      <a:pt x="0" y="227"/>
                      <a:pt x="6" y="575"/>
                      <a:pt x="6" y="575"/>
                    </a:cubicBezTo>
                    <a:lnTo>
                      <a:pt x="1445" y="575"/>
                    </a:lnTo>
                    <a:cubicBezTo>
                      <a:pt x="1445" y="575"/>
                      <a:pt x="1452" y="227"/>
                      <a:pt x="1357" y="186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4BAE9C1D-7CEE-2051-4D7E-3051F5F50AF0}"/>
                </a:ext>
              </a:extLst>
            </p:cNvPr>
            <p:cNvSpPr txBox="1"/>
            <p:nvPr/>
          </p:nvSpPr>
          <p:spPr>
            <a:xfrm>
              <a:off x="92934" y="5760932"/>
              <a:ext cx="6400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HCP 3</a:t>
              </a:r>
            </a:p>
          </p:txBody>
        </p:sp>
      </p:grpSp>
      <p:graphicFrame>
        <p:nvGraphicFramePr>
          <p:cNvPr id="60" name="Table 59">
            <a:extLst>
              <a:ext uri="{FF2B5EF4-FFF2-40B4-BE49-F238E27FC236}">
                <a16:creationId xmlns:a16="http://schemas.microsoft.com/office/drawing/2014/main" id="{74F84D78-88C6-98C4-4202-DB806808C7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7034864"/>
              </p:ext>
            </p:extLst>
          </p:nvPr>
        </p:nvGraphicFramePr>
        <p:xfrm>
          <a:off x="992240" y="2154308"/>
          <a:ext cx="8877287" cy="36151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0499">
                  <a:extLst>
                    <a:ext uri="{9D8B030D-6E8A-4147-A177-3AD203B41FA5}">
                      <a16:colId xmlns:a16="http://schemas.microsoft.com/office/drawing/2014/main" val="2924754182"/>
                    </a:ext>
                  </a:extLst>
                </a:gridCol>
                <a:gridCol w="1760499">
                  <a:extLst>
                    <a:ext uri="{9D8B030D-6E8A-4147-A177-3AD203B41FA5}">
                      <a16:colId xmlns:a16="http://schemas.microsoft.com/office/drawing/2014/main" val="2524043027"/>
                    </a:ext>
                  </a:extLst>
                </a:gridCol>
                <a:gridCol w="1760499">
                  <a:extLst>
                    <a:ext uri="{9D8B030D-6E8A-4147-A177-3AD203B41FA5}">
                      <a16:colId xmlns:a16="http://schemas.microsoft.com/office/drawing/2014/main" val="1806811096"/>
                    </a:ext>
                  </a:extLst>
                </a:gridCol>
                <a:gridCol w="1760499">
                  <a:extLst>
                    <a:ext uri="{9D8B030D-6E8A-4147-A177-3AD203B41FA5}">
                      <a16:colId xmlns:a16="http://schemas.microsoft.com/office/drawing/2014/main" val="2685046867"/>
                    </a:ext>
                  </a:extLst>
                </a:gridCol>
                <a:gridCol w="1835291">
                  <a:extLst>
                    <a:ext uri="{9D8B030D-6E8A-4147-A177-3AD203B41FA5}">
                      <a16:colId xmlns:a16="http://schemas.microsoft.com/office/drawing/2014/main" val="2666394748"/>
                    </a:ext>
                  </a:extLst>
                </a:gridCol>
              </a:tblGrid>
              <a:tr h="2863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>
                          <a:latin typeface="Arial Nova Cond" panose="020B0506020202020204" pitchFamily="34" charset="0"/>
                        </a:rPr>
                        <a:t>Market Sal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Arial Nova Cond" panose="020B0506020202020204" pitchFamily="34" charset="0"/>
                        </a:rPr>
                        <a:t>Profi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 Nova Cond" panose="020B0506020202020204" pitchFamily="34" charset="0"/>
                        </a:rPr>
                        <a:t>Adoption</a:t>
                      </a:r>
                      <a:endParaRPr lang="en-IN" sz="1600" b="1" dirty="0">
                        <a:latin typeface="Arial Nova Cond" panose="020B0506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Arial Nova Cond" panose="020B0506020202020204" pitchFamily="34" charset="0"/>
                        </a:rPr>
                        <a:t>Innov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latin typeface="Arial Nova Cond" panose="020B0506020202020204" pitchFamily="34" charset="0"/>
                        </a:rPr>
                        <a:t>Score</a:t>
                      </a:r>
                      <a:endParaRPr lang="en-IN" sz="1600" b="1">
                        <a:latin typeface="Arial Nova Cond" panose="020B0506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2100050"/>
                  </a:ext>
                </a:extLst>
              </a:tr>
              <a:tr h="1093306">
                <a:tc>
                  <a:txBody>
                    <a:bodyPr/>
                    <a:lstStyle/>
                    <a:p>
                      <a:pPr algn="ctr"/>
                      <a:r>
                        <a:rPr lang="en-US" sz="1800" b="0">
                          <a:latin typeface="Arial Nova Cond" panose="020B0506020202020204" pitchFamily="34" charset="0"/>
                        </a:rPr>
                        <a:t>100</a:t>
                      </a:r>
                      <a:endParaRPr lang="en-IN" sz="1800" b="0">
                        <a:latin typeface="Arial Nova Cond" panose="020B0506020202020204" pitchFamily="34" charset="0"/>
                      </a:endParaRPr>
                    </a:p>
                  </a:txBody>
                  <a:tcPr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Arial Nova Cond" panose="020B0506020202020204" pitchFamily="34" charset="0"/>
                        </a:rPr>
                        <a:t>Oncology</a:t>
                      </a:r>
                    </a:p>
                    <a:p>
                      <a:pPr algn="ctr"/>
                      <a:r>
                        <a:rPr lang="en-US" sz="1800" b="0" dirty="0">
                          <a:latin typeface="Arial Nova Cond" panose="020B0506020202020204" pitchFamily="34" charset="0"/>
                        </a:rPr>
                        <a:t>100</a:t>
                      </a:r>
                      <a:endParaRPr lang="en-IN" sz="1800" b="0" dirty="0">
                        <a:latin typeface="Arial Nova Cond" panose="020B0506020202020204" pitchFamily="34" charset="0"/>
                      </a:endParaRPr>
                    </a:p>
                  </a:txBody>
                  <a:tcPr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Arial Nova Cond" panose="020B0506020202020204" pitchFamily="34" charset="0"/>
                        </a:rPr>
                        <a:t>Loyalist</a:t>
                      </a:r>
                    </a:p>
                    <a:p>
                      <a:pPr algn="ctr"/>
                      <a:r>
                        <a:rPr lang="en-US" sz="1800" b="0" dirty="0">
                          <a:latin typeface="Arial Nova Cond" panose="020B0506020202020204" pitchFamily="34" charset="0"/>
                        </a:rPr>
                        <a:t>140</a:t>
                      </a:r>
                      <a:endParaRPr lang="en-IN" sz="1800" b="0" dirty="0">
                        <a:latin typeface="Arial Nova Cond" panose="020B0506020202020204" pitchFamily="34" charset="0"/>
                      </a:endParaRPr>
                    </a:p>
                  </a:txBody>
                  <a:tcPr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Arial Nova Cond" panose="020B0506020202020204" pitchFamily="34" charset="0"/>
                        </a:rPr>
                        <a:t>Low</a:t>
                      </a:r>
                    </a:p>
                    <a:p>
                      <a:pPr algn="ctr"/>
                      <a:r>
                        <a:rPr lang="en-US" sz="1800" b="0" dirty="0">
                          <a:latin typeface="Arial Nova Cond" panose="020B0506020202020204" pitchFamily="34" charset="0"/>
                        </a:rPr>
                        <a:t>20</a:t>
                      </a:r>
                      <a:endParaRPr lang="en-IN" sz="1800" b="0" dirty="0">
                        <a:latin typeface="Arial Nova Cond" panose="020B0506020202020204" pitchFamily="34" charset="0"/>
                      </a:endParaRPr>
                    </a:p>
                  </a:txBody>
                  <a:tcPr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en-US" sz="1000" b="0" dirty="0">
                          <a:latin typeface="Arial Nova Cond" panose="020B0506020202020204" pitchFamily="34" charset="0"/>
                        </a:rPr>
                        <a:t>40% x 140</a:t>
                      </a:r>
                    </a:p>
                    <a:p>
                      <a:pPr marL="0" indent="0" algn="ctr"/>
                      <a:r>
                        <a:rPr lang="en-US" sz="1000" b="0" dirty="0">
                          <a:latin typeface="Arial Nova Cond" panose="020B0506020202020204" pitchFamily="34" charset="0"/>
                        </a:rPr>
                        <a:t>10% x 100</a:t>
                      </a:r>
                    </a:p>
                    <a:p>
                      <a:pPr marL="0" indent="0" algn="ctr"/>
                      <a:r>
                        <a:rPr lang="en-US" sz="1000" b="0" dirty="0">
                          <a:latin typeface="Arial Nova Cond" panose="020B0506020202020204" pitchFamily="34" charset="0"/>
                        </a:rPr>
                        <a:t>30% x 100</a:t>
                      </a:r>
                    </a:p>
                    <a:p>
                      <a:pPr marL="0" indent="0" algn="ctr"/>
                      <a:r>
                        <a:rPr lang="en-US" sz="1000" b="0" dirty="0">
                          <a:latin typeface="Arial Nova Cond" panose="020B0506020202020204" pitchFamily="34" charset="0"/>
                        </a:rPr>
                        <a:t>20% x 20</a:t>
                      </a:r>
                    </a:p>
                    <a:p>
                      <a:pPr marL="0" indent="0" algn="ctr"/>
                      <a:r>
                        <a:rPr lang="en-US" sz="1400" b="1" dirty="0">
                          <a:latin typeface="Arial Nova Cond" panose="020B0506020202020204" pitchFamily="34" charset="0"/>
                        </a:rPr>
                        <a:t>Total = 100</a:t>
                      </a:r>
                      <a:endParaRPr lang="en-IN" sz="1400" b="1" dirty="0">
                        <a:latin typeface="Arial Nova Cond" panose="020B0506020202020204" pitchFamily="34" charset="0"/>
                      </a:endParaRPr>
                    </a:p>
                  </a:txBody>
                  <a:tcPr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7777540"/>
                  </a:ext>
                </a:extLst>
              </a:tr>
              <a:tr h="1093306">
                <a:tc>
                  <a:txBody>
                    <a:bodyPr/>
                    <a:lstStyle/>
                    <a:p>
                      <a:pPr algn="ctr"/>
                      <a:r>
                        <a:rPr lang="en-US" sz="1800" b="0">
                          <a:latin typeface="Arial Nova Cond" panose="020B0506020202020204" pitchFamily="34" charset="0"/>
                        </a:rPr>
                        <a:t>40</a:t>
                      </a:r>
                      <a:endParaRPr lang="en-IN" sz="1800" b="0">
                        <a:latin typeface="Arial Nova Cond" panose="020B0506020202020204" pitchFamily="34" charset="0"/>
                      </a:endParaRPr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Gynecology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ova Cond" panose="020B0506020202020204" pitchFamily="34" charset="0"/>
                      </a:endParaRPr>
                    </a:p>
                    <a:p>
                      <a:pPr algn="ctr"/>
                      <a:r>
                        <a:rPr lang="en-IN" sz="1800" b="0" dirty="0">
                          <a:latin typeface="Arial Nova Cond" panose="020B0506020202020204" pitchFamily="34" charset="0"/>
                        </a:rPr>
                        <a:t>80</a:t>
                      </a:r>
                      <a:endParaRPr lang="en-US" sz="1800" b="0" dirty="0">
                        <a:latin typeface="Arial Nova Cond" panose="020B0506020202020204" pitchFamily="34" charset="0"/>
                      </a:endParaRPr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Arial Nova Cond" panose="020B0506020202020204" pitchFamily="34" charset="0"/>
                        </a:rPr>
                        <a:t>Adoption</a:t>
                      </a:r>
                    </a:p>
                    <a:p>
                      <a:pPr algn="ctr"/>
                      <a:r>
                        <a:rPr lang="en-IN" sz="1800" b="0" dirty="0">
                          <a:latin typeface="Arial Nova Cond" panose="020B0506020202020204" pitchFamily="34" charset="0"/>
                        </a:rPr>
                        <a:t>100</a:t>
                      </a:r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Arial Nova Cond" panose="020B0506020202020204" pitchFamily="34" charset="0"/>
                        </a:rPr>
                        <a:t>Medium</a:t>
                      </a:r>
                    </a:p>
                    <a:p>
                      <a:pPr algn="ctr"/>
                      <a:r>
                        <a:rPr lang="en-US" sz="1800" b="0" dirty="0">
                          <a:latin typeface="Arial Nova Cond" panose="020B0506020202020204" pitchFamily="34" charset="0"/>
                        </a:rPr>
                        <a:t>60</a:t>
                      </a:r>
                      <a:endParaRPr lang="en-IN" sz="1800" b="0" dirty="0">
                        <a:latin typeface="Arial Nova Cond" panose="020B0506020202020204" pitchFamily="34" charset="0"/>
                      </a:endParaRPr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en-US" sz="1000" b="0" dirty="0">
                          <a:latin typeface="Arial Nova Cond" panose="020B0506020202020204" pitchFamily="34" charset="0"/>
                        </a:rPr>
                        <a:t>40% x 40</a:t>
                      </a:r>
                    </a:p>
                    <a:p>
                      <a:pPr marL="0" indent="0" algn="ctr"/>
                      <a:r>
                        <a:rPr lang="en-US" sz="1000" b="0" dirty="0">
                          <a:latin typeface="Arial Nova Cond" panose="020B0506020202020204" pitchFamily="34" charset="0"/>
                        </a:rPr>
                        <a:t>10% x 80</a:t>
                      </a:r>
                    </a:p>
                    <a:p>
                      <a:pPr marL="0" indent="0" algn="ctr"/>
                      <a:r>
                        <a:rPr lang="en-US" sz="1000" b="0" dirty="0">
                          <a:latin typeface="Arial Nova Cond" panose="020B0506020202020204" pitchFamily="34" charset="0"/>
                        </a:rPr>
                        <a:t>30% x 100</a:t>
                      </a:r>
                    </a:p>
                    <a:p>
                      <a:pPr marL="0" indent="0" algn="ctr"/>
                      <a:r>
                        <a:rPr lang="en-US" sz="1000" b="0" dirty="0">
                          <a:latin typeface="Arial Nova Cond" panose="020B0506020202020204" pitchFamily="34" charset="0"/>
                        </a:rPr>
                        <a:t>20% x 60</a:t>
                      </a:r>
                    </a:p>
                    <a:p>
                      <a:pPr marL="0" indent="0" algn="ctr"/>
                      <a:r>
                        <a:rPr lang="en-US" sz="1400" b="1" dirty="0">
                          <a:latin typeface="Arial Nova Cond" panose="020B0506020202020204" pitchFamily="34" charset="0"/>
                        </a:rPr>
                        <a:t>Total = 66</a:t>
                      </a:r>
                      <a:endParaRPr lang="en-IN" sz="1400" b="1" dirty="0">
                        <a:latin typeface="Arial Nova Cond" panose="020B0506020202020204" pitchFamily="34" charset="0"/>
                      </a:endParaRPr>
                    </a:p>
                  </a:txBody>
                  <a:tcPr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090508"/>
                  </a:ext>
                </a:extLst>
              </a:tr>
              <a:tr h="10933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6</a:t>
                      </a:r>
                      <a:r>
                        <a:rPr lang="en-IN" sz="1800" b="0">
                          <a:latin typeface="Arial Nova Cond" panose="020B0506020202020204" pitchFamily="34" charset="0"/>
                        </a:rPr>
                        <a:t>0</a:t>
                      </a:r>
                    </a:p>
                  </a:txBody>
                  <a:tcPr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Haematology</a:t>
                      </a:r>
                    </a:p>
                    <a:p>
                      <a:pPr algn="ctr"/>
                      <a:r>
                        <a:rPr lang="en-US" sz="1800" b="0" dirty="0">
                          <a:latin typeface="Arial Nova Cond" panose="020B0506020202020204" pitchFamily="34" charset="0"/>
                        </a:rPr>
                        <a:t>40</a:t>
                      </a:r>
                      <a:endParaRPr lang="en-IN" sz="1800" b="0" dirty="0">
                        <a:latin typeface="Arial Nova Cond" panose="020B0506020202020204" pitchFamily="34" charset="0"/>
                      </a:endParaRPr>
                    </a:p>
                  </a:txBody>
                  <a:tcPr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latin typeface="Arial Nova Cond" panose="020B0506020202020204" pitchFamily="34" charset="0"/>
                        </a:rPr>
                        <a:t>Expansion</a:t>
                      </a:r>
                    </a:p>
                    <a:p>
                      <a:pPr algn="ctr"/>
                      <a:r>
                        <a:rPr lang="en-IN" sz="1800" b="0" dirty="0">
                          <a:latin typeface="Arial Nova Cond" panose="020B0506020202020204" pitchFamily="34" charset="0"/>
                        </a:rPr>
                        <a:t>120</a:t>
                      </a:r>
                    </a:p>
                  </a:txBody>
                  <a:tcPr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High</a:t>
                      </a:r>
                    </a:p>
                    <a:p>
                      <a:pPr algn="ctr"/>
                      <a:r>
                        <a:rPr lang="en-IN" sz="1800" b="0" dirty="0">
                          <a:latin typeface="Arial Nova Cond" panose="020B0506020202020204" pitchFamily="34" charset="0"/>
                        </a:rPr>
                        <a:t>100</a:t>
                      </a:r>
                    </a:p>
                  </a:txBody>
                  <a:tcPr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en-US" sz="1000" b="0" dirty="0">
                          <a:latin typeface="Arial Nova Cond" panose="020B0506020202020204" pitchFamily="34" charset="0"/>
                        </a:rPr>
                        <a:t>40% x 60</a:t>
                      </a:r>
                    </a:p>
                    <a:p>
                      <a:pPr marL="0" indent="0" algn="ctr"/>
                      <a:r>
                        <a:rPr lang="en-US" sz="1000" b="0" dirty="0">
                          <a:latin typeface="Arial Nova Cond" panose="020B0506020202020204" pitchFamily="34" charset="0"/>
                        </a:rPr>
                        <a:t>10% x 40</a:t>
                      </a:r>
                    </a:p>
                    <a:p>
                      <a:pPr marL="0" indent="0" algn="ctr"/>
                      <a:r>
                        <a:rPr lang="en-US" sz="1000" b="0" dirty="0">
                          <a:latin typeface="Arial Nova Cond" panose="020B0506020202020204" pitchFamily="34" charset="0"/>
                        </a:rPr>
                        <a:t>30% x 130</a:t>
                      </a:r>
                    </a:p>
                    <a:p>
                      <a:pPr marL="0" indent="0" algn="ctr"/>
                      <a:r>
                        <a:rPr lang="en-US" sz="1000" b="0" dirty="0">
                          <a:latin typeface="Arial Nova Cond" panose="020B0506020202020204" pitchFamily="34" charset="0"/>
                        </a:rPr>
                        <a:t>20% x 100</a:t>
                      </a:r>
                    </a:p>
                    <a:p>
                      <a:pPr marL="0" indent="0" algn="ctr"/>
                      <a:r>
                        <a:rPr lang="en-US" sz="1400" b="1" dirty="0">
                          <a:latin typeface="Arial Nova Cond" panose="020B0506020202020204" pitchFamily="34" charset="0"/>
                        </a:rPr>
                        <a:t>Total = 84</a:t>
                      </a:r>
                      <a:endParaRPr lang="en-IN" sz="1400" b="1" dirty="0">
                        <a:latin typeface="Arial Nova Cond" panose="020B0506020202020204" pitchFamily="34" charset="0"/>
                      </a:endParaRPr>
                    </a:p>
                  </a:txBody>
                  <a:tcPr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3241289"/>
                  </a:ext>
                </a:extLst>
              </a:tr>
            </a:tbl>
          </a:graphicData>
        </a:graphic>
      </p:graphicFrame>
      <p:graphicFrame>
        <p:nvGraphicFramePr>
          <p:cNvPr id="135" name="Table 134">
            <a:extLst>
              <a:ext uri="{FF2B5EF4-FFF2-40B4-BE49-F238E27FC236}">
                <a16:creationId xmlns:a16="http://schemas.microsoft.com/office/drawing/2014/main" id="{B6C3B402-DA36-E317-6DF2-F0C4DD7BF2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2411075"/>
              </p:ext>
            </p:extLst>
          </p:nvPr>
        </p:nvGraphicFramePr>
        <p:xfrm>
          <a:off x="1000494" y="1820490"/>
          <a:ext cx="7041996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0499">
                  <a:extLst>
                    <a:ext uri="{9D8B030D-6E8A-4147-A177-3AD203B41FA5}">
                      <a16:colId xmlns:a16="http://schemas.microsoft.com/office/drawing/2014/main" val="3042341604"/>
                    </a:ext>
                  </a:extLst>
                </a:gridCol>
                <a:gridCol w="1760499">
                  <a:extLst>
                    <a:ext uri="{9D8B030D-6E8A-4147-A177-3AD203B41FA5}">
                      <a16:colId xmlns:a16="http://schemas.microsoft.com/office/drawing/2014/main" val="511291596"/>
                    </a:ext>
                  </a:extLst>
                </a:gridCol>
                <a:gridCol w="1760499">
                  <a:extLst>
                    <a:ext uri="{9D8B030D-6E8A-4147-A177-3AD203B41FA5}">
                      <a16:colId xmlns:a16="http://schemas.microsoft.com/office/drawing/2014/main" val="2095944784"/>
                    </a:ext>
                  </a:extLst>
                </a:gridCol>
                <a:gridCol w="1760499">
                  <a:extLst>
                    <a:ext uri="{9D8B030D-6E8A-4147-A177-3AD203B41FA5}">
                      <a16:colId xmlns:a16="http://schemas.microsoft.com/office/drawing/2014/main" val="3484842722"/>
                    </a:ext>
                  </a:extLst>
                </a:gridCol>
              </a:tblGrid>
              <a:tr h="14854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Arial Nova Cond" panose="020B0506020202020204" pitchFamily="34" charset="0"/>
                        </a:rPr>
                        <a:t>40%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>
                          <a:latin typeface="Arial Nova Cond" panose="020B0506020202020204" pitchFamily="34" charset="0"/>
                        </a:rPr>
                        <a:t>10%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 Nova Cond" panose="020B0506020202020204" pitchFamily="34" charset="0"/>
                        </a:rPr>
                        <a:t>30%</a:t>
                      </a:r>
                      <a:endParaRPr lang="en-IN" sz="1600" b="1" dirty="0">
                        <a:latin typeface="Arial Nova Cond" panose="020B0506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Arial Nova Cond" panose="020B0506020202020204" pitchFamily="34" charset="0"/>
                        </a:rPr>
                        <a:t>20%</a:t>
                      </a: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1518728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997452E-A6E1-6BDC-4C7B-6F638E76C736}"/>
              </a:ext>
            </a:extLst>
          </p:cNvPr>
          <p:cNvSpPr txBox="1"/>
          <p:nvPr/>
        </p:nvSpPr>
        <p:spPr>
          <a:xfrm>
            <a:off x="10162903" y="2730378"/>
            <a:ext cx="1251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/>
              <a:t>TIER 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7999129-0F06-EAF1-D376-C067D5E39E7A}"/>
              </a:ext>
            </a:extLst>
          </p:cNvPr>
          <p:cNvSpPr txBox="1"/>
          <p:nvPr/>
        </p:nvSpPr>
        <p:spPr>
          <a:xfrm>
            <a:off x="10162903" y="3970513"/>
            <a:ext cx="1251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/>
              <a:t>TIER 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ECB604-4EBF-7FFC-9A91-6C8234553163}"/>
              </a:ext>
            </a:extLst>
          </p:cNvPr>
          <p:cNvSpPr txBox="1"/>
          <p:nvPr/>
        </p:nvSpPr>
        <p:spPr>
          <a:xfrm>
            <a:off x="10162903" y="5210648"/>
            <a:ext cx="1251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/>
              <a:t>TIER 2</a:t>
            </a:r>
          </a:p>
        </p:txBody>
      </p:sp>
    </p:spTree>
    <p:extLst>
      <p:ext uri="{BB962C8B-B14F-4D97-AF65-F5344CB8AC3E}">
        <p14:creationId xmlns:p14="http://schemas.microsoft.com/office/powerpoint/2010/main" val="24211959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8">
            <a:extLst>
              <a:ext uri="{FF2B5EF4-FFF2-40B4-BE49-F238E27FC236}">
                <a16:creationId xmlns:a16="http://schemas.microsoft.com/office/drawing/2014/main" id="{F84F267C-33BF-EEBB-4667-7ACC5F522542}"/>
              </a:ext>
            </a:extLst>
          </p:cNvPr>
          <p:cNvGrpSpPr/>
          <p:nvPr/>
        </p:nvGrpSpPr>
        <p:grpSpPr>
          <a:xfrm rot="18011585">
            <a:off x="6223000" y="509360"/>
            <a:ext cx="6640285" cy="6836228"/>
            <a:chOff x="5352836" y="79620"/>
            <a:chExt cx="2896636" cy="2960160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E9FCDE68-5AF6-F944-4A1C-24EAE380C9AB}"/>
                </a:ext>
              </a:extLst>
            </p:cNvPr>
            <p:cNvSpPr/>
            <p:nvPr/>
          </p:nvSpPr>
          <p:spPr>
            <a:xfrm>
              <a:off x="5352836" y="275269"/>
              <a:ext cx="2159765" cy="2764510"/>
            </a:xfrm>
            <a:custGeom>
              <a:avLst/>
              <a:gdLst>
                <a:gd name="connsiteX0" fmla="*/ 2108492 w 2159765"/>
                <a:gd name="connsiteY0" fmla="*/ 1782498 h 2764510"/>
                <a:gd name="connsiteX1" fmla="*/ 1960637 w 2159765"/>
                <a:gd name="connsiteY1" fmla="*/ 2315962 h 2764510"/>
                <a:gd name="connsiteX2" fmla="*/ 1276268 w 2159765"/>
                <a:gd name="connsiteY2" fmla="*/ 2711251 h 2764510"/>
                <a:gd name="connsiteX3" fmla="*/ 736452 w 2159765"/>
                <a:gd name="connsiteY3" fmla="*/ 2566724 h 2764510"/>
                <a:gd name="connsiteX4" fmla="*/ 737037 w 2159765"/>
                <a:gd name="connsiteY4" fmla="*/ 2170952 h 2764510"/>
                <a:gd name="connsiteX5" fmla="*/ 591646 w 2159765"/>
                <a:gd name="connsiteY5" fmla="*/ 1632432 h 2764510"/>
                <a:gd name="connsiteX6" fmla="*/ 395538 w 2159765"/>
                <a:gd name="connsiteY6" fmla="*/ 1579708 h 2764510"/>
                <a:gd name="connsiteX7" fmla="*/ 394395 w 2159765"/>
                <a:gd name="connsiteY7" fmla="*/ 1579708 h 2764510"/>
                <a:gd name="connsiteX8" fmla="*/ -589 w 2159765"/>
                <a:gd name="connsiteY8" fmla="*/ 1184350 h 2764510"/>
                <a:gd name="connsiteX9" fmla="*/ -1504 w 2159765"/>
                <a:gd name="connsiteY9" fmla="*/ 394618 h 2764510"/>
                <a:gd name="connsiteX10" fmla="*/ -1504 w 2159765"/>
                <a:gd name="connsiteY10" fmla="*/ 394618 h 2764510"/>
                <a:gd name="connsiteX11" fmla="*/ 51347 w 2159765"/>
                <a:gd name="connsiteY11" fmla="*/ 197185 h 2764510"/>
                <a:gd name="connsiteX12" fmla="*/ 591163 w 2159765"/>
                <a:gd name="connsiteY12" fmla="*/ 52648 h 2764510"/>
                <a:gd name="connsiteX13" fmla="*/ 1960637 w 2159765"/>
                <a:gd name="connsiteY13" fmla="*/ 842380 h 2764510"/>
                <a:gd name="connsiteX14" fmla="*/ 2105265 w 2159765"/>
                <a:gd name="connsiteY14" fmla="*/ 1381784 h 2764510"/>
                <a:gd name="connsiteX15" fmla="*/ 2104045 w 2159765"/>
                <a:gd name="connsiteY15" fmla="*/ 1774672 h 2764510"/>
                <a:gd name="connsiteX16" fmla="*/ 2108492 w 2159765"/>
                <a:gd name="connsiteY16" fmla="*/ 1782498 h 276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59765" h="2764510">
                  <a:moveTo>
                    <a:pt x="2108492" y="1782498"/>
                  </a:moveTo>
                  <a:cubicBezTo>
                    <a:pt x="2212949" y="1970474"/>
                    <a:pt x="2147673" y="2208126"/>
                    <a:pt x="1960637" y="2315962"/>
                  </a:cubicBezTo>
                  <a:lnTo>
                    <a:pt x="1276268" y="2711251"/>
                  </a:lnTo>
                  <a:cubicBezTo>
                    <a:pt x="1087250" y="2820256"/>
                    <a:pt x="845610" y="2755590"/>
                    <a:pt x="736452" y="2566724"/>
                  </a:cubicBezTo>
                  <a:cubicBezTo>
                    <a:pt x="663096" y="2439780"/>
                    <a:pt x="668458" y="2289155"/>
                    <a:pt x="737037" y="2170952"/>
                  </a:cubicBezTo>
                  <a:cubicBezTo>
                    <a:pt x="845711" y="1982137"/>
                    <a:pt x="780410" y="1741361"/>
                    <a:pt x="591646" y="1632432"/>
                  </a:cubicBezTo>
                  <a:cubicBezTo>
                    <a:pt x="529648" y="1596656"/>
                    <a:pt x="462314" y="1579784"/>
                    <a:pt x="395538" y="1579708"/>
                  </a:cubicBezTo>
                  <a:cubicBezTo>
                    <a:pt x="395132" y="1579708"/>
                    <a:pt x="394801" y="1579708"/>
                    <a:pt x="394395" y="1579708"/>
                  </a:cubicBezTo>
                  <a:cubicBezTo>
                    <a:pt x="176156" y="1579708"/>
                    <a:pt x="-589" y="1402434"/>
                    <a:pt x="-589" y="1184350"/>
                  </a:cubicBezTo>
                  <a:lnTo>
                    <a:pt x="-1504" y="394618"/>
                  </a:lnTo>
                  <a:lnTo>
                    <a:pt x="-1504" y="394618"/>
                  </a:lnTo>
                  <a:cubicBezTo>
                    <a:pt x="-1504" y="327490"/>
                    <a:pt x="15368" y="259460"/>
                    <a:pt x="51347" y="197185"/>
                  </a:cubicBezTo>
                  <a:cubicBezTo>
                    <a:pt x="160428" y="8306"/>
                    <a:pt x="402145" y="-56352"/>
                    <a:pt x="591163" y="52648"/>
                  </a:cubicBezTo>
                  <a:lnTo>
                    <a:pt x="1960637" y="842380"/>
                  </a:lnTo>
                  <a:cubicBezTo>
                    <a:pt x="2149655" y="951380"/>
                    <a:pt x="2214347" y="1192908"/>
                    <a:pt x="2105265" y="1381784"/>
                  </a:cubicBezTo>
                  <a:cubicBezTo>
                    <a:pt x="2032748" y="1507320"/>
                    <a:pt x="2037524" y="1657028"/>
                    <a:pt x="2104045" y="1774672"/>
                  </a:cubicBezTo>
                  <a:lnTo>
                    <a:pt x="2108492" y="1782498"/>
                  </a:lnTo>
                  <a:close/>
                </a:path>
              </a:pathLst>
            </a:custGeom>
            <a:solidFill>
              <a:srgbClr val="8FC7D3"/>
            </a:soli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D09A1BE2-6F58-654D-E079-E86E376C8DD2}"/>
                </a:ext>
              </a:extLst>
            </p:cNvPr>
            <p:cNvSpPr/>
            <p:nvPr/>
          </p:nvSpPr>
          <p:spPr>
            <a:xfrm>
              <a:off x="6038881" y="79620"/>
              <a:ext cx="2210590" cy="2566313"/>
            </a:xfrm>
            <a:custGeom>
              <a:avLst/>
              <a:gdLst>
                <a:gd name="connsiteX0" fmla="*/ 2103436 w 2210590"/>
                <a:gd name="connsiteY0" fmla="*/ 1577934 h 2566313"/>
                <a:gd name="connsiteX1" fmla="*/ 2094289 w 2210590"/>
                <a:gd name="connsiteY1" fmla="*/ 1200289 h 2566313"/>
                <a:gd name="connsiteX2" fmla="*/ 2209087 w 2210590"/>
                <a:gd name="connsiteY2" fmla="*/ 789884 h 2566313"/>
                <a:gd name="connsiteX3" fmla="*/ 1419093 w 2210590"/>
                <a:gd name="connsiteY3" fmla="*/ -305 h 2566313"/>
                <a:gd name="connsiteX4" fmla="*/ 749640 w 2210590"/>
                <a:gd name="connsiteY4" fmla="*/ 370261 h 2566313"/>
                <a:gd name="connsiteX5" fmla="*/ 735588 w 2210590"/>
                <a:gd name="connsiteY5" fmla="*/ 392979 h 2566313"/>
                <a:gd name="connsiteX6" fmla="*/ 735588 w 2210590"/>
                <a:gd name="connsiteY6" fmla="*/ 392979 h 2566313"/>
                <a:gd name="connsiteX7" fmla="*/ 394649 w 2210590"/>
                <a:gd name="connsiteY7" fmla="*/ 590527 h 2566313"/>
                <a:gd name="connsiteX8" fmla="*/ 394649 w 2210590"/>
                <a:gd name="connsiteY8" fmla="*/ 590527 h 2566313"/>
                <a:gd name="connsiteX9" fmla="*/ -1504 w 2210590"/>
                <a:gd name="connsiteY9" fmla="*/ 985621 h 2566313"/>
                <a:gd name="connsiteX10" fmla="*/ 393506 w 2210590"/>
                <a:gd name="connsiteY10" fmla="*/ 1380717 h 2566313"/>
                <a:gd name="connsiteX11" fmla="*/ 393506 w 2210590"/>
                <a:gd name="connsiteY11" fmla="*/ 1380717 h 2566313"/>
                <a:gd name="connsiteX12" fmla="*/ 590985 w 2210590"/>
                <a:gd name="connsiteY12" fmla="*/ 1433644 h 2566313"/>
                <a:gd name="connsiteX13" fmla="*/ 736071 w 2210590"/>
                <a:gd name="connsiteY13" fmla="*/ 1972380 h 2566313"/>
                <a:gd name="connsiteX14" fmla="*/ 735487 w 2210590"/>
                <a:gd name="connsiteY14" fmla="*/ 2368380 h 2566313"/>
                <a:gd name="connsiteX15" fmla="*/ 1275176 w 2210590"/>
                <a:gd name="connsiteY15" fmla="*/ 2512984 h 2566313"/>
                <a:gd name="connsiteX16" fmla="*/ 1959239 w 2210590"/>
                <a:gd name="connsiteY16" fmla="*/ 2117898 h 2566313"/>
                <a:gd name="connsiteX17" fmla="*/ 1959239 w 2210590"/>
                <a:gd name="connsiteY17" fmla="*/ 2117898 h 2566313"/>
                <a:gd name="connsiteX18" fmla="*/ 2147038 w 2210590"/>
                <a:gd name="connsiteY18" fmla="*/ 1862740 h 2566313"/>
                <a:gd name="connsiteX19" fmla="*/ 2103512 w 2210590"/>
                <a:gd name="connsiteY19" fmla="*/ 1577853 h 2566313"/>
                <a:gd name="connsiteX20" fmla="*/ 2103512 w 2210590"/>
                <a:gd name="connsiteY20" fmla="*/ 1577853 h 256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10590" h="2566313">
                  <a:moveTo>
                    <a:pt x="2103436" y="1577934"/>
                  </a:moveTo>
                  <a:cubicBezTo>
                    <a:pt x="2033891" y="1457432"/>
                    <a:pt x="2035364" y="1315609"/>
                    <a:pt x="2094289" y="1200289"/>
                  </a:cubicBezTo>
                  <a:cubicBezTo>
                    <a:pt x="2167111" y="1080691"/>
                    <a:pt x="2209087" y="940184"/>
                    <a:pt x="2209087" y="789884"/>
                  </a:cubicBezTo>
                  <a:cubicBezTo>
                    <a:pt x="2209087" y="353468"/>
                    <a:pt x="1855392" y="-305"/>
                    <a:pt x="1419093" y="-305"/>
                  </a:cubicBezTo>
                  <a:cubicBezTo>
                    <a:pt x="1136925" y="-305"/>
                    <a:pt x="889390" y="147690"/>
                    <a:pt x="749640" y="370261"/>
                  </a:cubicBezTo>
                  <a:cubicBezTo>
                    <a:pt x="744710" y="377668"/>
                    <a:pt x="740035" y="385242"/>
                    <a:pt x="735588" y="392979"/>
                  </a:cubicBezTo>
                  <a:lnTo>
                    <a:pt x="735588" y="392979"/>
                  </a:lnTo>
                  <a:cubicBezTo>
                    <a:pt x="662664" y="519245"/>
                    <a:pt x="530588" y="590032"/>
                    <a:pt x="394649" y="590527"/>
                  </a:cubicBezTo>
                  <a:cubicBezTo>
                    <a:pt x="394243" y="590527"/>
                    <a:pt x="395056" y="590527"/>
                    <a:pt x="394649" y="590527"/>
                  </a:cubicBezTo>
                  <a:cubicBezTo>
                    <a:pt x="176487" y="590527"/>
                    <a:pt x="-1504" y="767413"/>
                    <a:pt x="-1504" y="985621"/>
                  </a:cubicBezTo>
                  <a:cubicBezTo>
                    <a:pt x="-1504" y="1203829"/>
                    <a:pt x="175343" y="1380717"/>
                    <a:pt x="393506" y="1380717"/>
                  </a:cubicBezTo>
                  <a:cubicBezTo>
                    <a:pt x="393836" y="1380717"/>
                    <a:pt x="393175" y="1380717"/>
                    <a:pt x="393506" y="1380717"/>
                  </a:cubicBezTo>
                  <a:cubicBezTo>
                    <a:pt x="460306" y="1380798"/>
                    <a:pt x="528936" y="1397837"/>
                    <a:pt x="590985" y="1433644"/>
                  </a:cubicBezTo>
                  <a:cubicBezTo>
                    <a:pt x="779597" y="1542542"/>
                    <a:pt x="844364" y="1783540"/>
                    <a:pt x="736071" y="1972380"/>
                  </a:cubicBezTo>
                  <a:cubicBezTo>
                    <a:pt x="667441" y="2090735"/>
                    <a:pt x="662181" y="2241437"/>
                    <a:pt x="735487" y="2368380"/>
                  </a:cubicBezTo>
                  <a:cubicBezTo>
                    <a:pt x="844542" y="2557348"/>
                    <a:pt x="1086234" y="2622141"/>
                    <a:pt x="1275176" y="2512984"/>
                  </a:cubicBezTo>
                  <a:lnTo>
                    <a:pt x="1959239" y="2117898"/>
                  </a:lnTo>
                  <a:lnTo>
                    <a:pt x="1959239" y="2117898"/>
                  </a:lnTo>
                  <a:cubicBezTo>
                    <a:pt x="2051347" y="2064716"/>
                    <a:pt x="2121781" y="1974667"/>
                    <a:pt x="2147038" y="1862740"/>
                  </a:cubicBezTo>
                  <a:cubicBezTo>
                    <a:pt x="2169830" y="1761655"/>
                    <a:pt x="2151637" y="1660905"/>
                    <a:pt x="2103512" y="1577853"/>
                  </a:cubicBezTo>
                  <a:lnTo>
                    <a:pt x="2103512" y="1577853"/>
                  </a:lnTo>
                  <a:close/>
                </a:path>
              </a:pathLst>
            </a:custGeom>
            <a:solidFill>
              <a:srgbClr val="279396"/>
            </a:soli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FA20687-5682-3420-8A36-C8D45C866E3B}"/>
                </a:ext>
              </a:extLst>
            </p:cNvPr>
            <p:cNvSpPr/>
            <p:nvPr/>
          </p:nvSpPr>
          <p:spPr>
            <a:xfrm>
              <a:off x="6038881" y="658947"/>
              <a:ext cx="1473728" cy="1986988"/>
            </a:xfrm>
            <a:custGeom>
              <a:avLst/>
              <a:gdLst>
                <a:gd name="connsiteX0" fmla="*/ 1274718 w 1473728"/>
                <a:gd name="connsiteY0" fmla="*/ 457798 h 1986988"/>
                <a:gd name="connsiteX1" fmla="*/ 481777 w 1473728"/>
                <a:gd name="connsiteY1" fmla="*/ -305 h 1986988"/>
                <a:gd name="connsiteX2" fmla="*/ 394547 w 1473728"/>
                <a:gd name="connsiteY2" fmla="*/ 9991 h 1986988"/>
                <a:gd name="connsiteX3" fmla="*/ -1504 w 1473728"/>
                <a:gd name="connsiteY3" fmla="*/ 405333 h 1986988"/>
                <a:gd name="connsiteX4" fmla="*/ 393404 w 1473728"/>
                <a:gd name="connsiteY4" fmla="*/ 800673 h 1986988"/>
                <a:gd name="connsiteX5" fmla="*/ 590858 w 1473728"/>
                <a:gd name="connsiteY5" fmla="*/ 853633 h 1986988"/>
                <a:gd name="connsiteX6" fmla="*/ 735919 w 1473728"/>
                <a:gd name="connsiteY6" fmla="*/ 1392697 h 1986988"/>
                <a:gd name="connsiteX7" fmla="*/ 735334 w 1473728"/>
                <a:gd name="connsiteY7" fmla="*/ 1788952 h 1986988"/>
                <a:gd name="connsiteX8" fmla="*/ 1258761 w 1473728"/>
                <a:gd name="connsiteY8" fmla="*/ 1942473 h 1986988"/>
                <a:gd name="connsiteX9" fmla="*/ 1274718 w 1473728"/>
                <a:gd name="connsiteY9" fmla="*/ 1933250 h 1986988"/>
                <a:gd name="connsiteX10" fmla="*/ 1422472 w 1473728"/>
                <a:gd name="connsiteY10" fmla="*/ 1399126 h 1986988"/>
                <a:gd name="connsiteX11" fmla="*/ 1418025 w 1473728"/>
                <a:gd name="connsiteY11" fmla="*/ 1391300 h 1986988"/>
                <a:gd name="connsiteX12" fmla="*/ 1419270 w 1473728"/>
                <a:gd name="connsiteY12" fmla="*/ 997934 h 1986988"/>
                <a:gd name="connsiteX13" fmla="*/ 1274718 w 1473728"/>
                <a:gd name="connsiteY13" fmla="*/ 457879 h 198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73728" h="1986988">
                  <a:moveTo>
                    <a:pt x="1274718" y="457798"/>
                  </a:moveTo>
                  <a:lnTo>
                    <a:pt x="481777" y="-305"/>
                  </a:lnTo>
                  <a:cubicBezTo>
                    <a:pt x="453217" y="6284"/>
                    <a:pt x="424022" y="9910"/>
                    <a:pt x="394547" y="9991"/>
                  </a:cubicBezTo>
                  <a:cubicBezTo>
                    <a:pt x="176461" y="9991"/>
                    <a:pt x="-1504" y="186988"/>
                    <a:pt x="-1504" y="405333"/>
                  </a:cubicBezTo>
                  <a:cubicBezTo>
                    <a:pt x="-1504" y="623676"/>
                    <a:pt x="175292" y="800673"/>
                    <a:pt x="393404" y="800673"/>
                  </a:cubicBezTo>
                  <a:cubicBezTo>
                    <a:pt x="460204" y="800757"/>
                    <a:pt x="528834" y="817807"/>
                    <a:pt x="590858" y="853633"/>
                  </a:cubicBezTo>
                  <a:cubicBezTo>
                    <a:pt x="779419" y="962598"/>
                    <a:pt x="844187" y="1203755"/>
                    <a:pt x="735919" y="1392697"/>
                  </a:cubicBezTo>
                  <a:cubicBezTo>
                    <a:pt x="667289" y="1511129"/>
                    <a:pt x="662029" y="1661932"/>
                    <a:pt x="735334" y="1788952"/>
                  </a:cubicBezTo>
                  <a:cubicBezTo>
                    <a:pt x="841290" y="1972685"/>
                    <a:pt x="1072487" y="2039079"/>
                    <a:pt x="1258761" y="1942473"/>
                  </a:cubicBezTo>
                  <a:lnTo>
                    <a:pt x="1274718" y="1933250"/>
                  </a:lnTo>
                  <a:cubicBezTo>
                    <a:pt x="1461628" y="1825185"/>
                    <a:pt x="1526878" y="1587331"/>
                    <a:pt x="1422472" y="1399126"/>
                  </a:cubicBezTo>
                  <a:lnTo>
                    <a:pt x="1418025" y="1391300"/>
                  </a:lnTo>
                  <a:cubicBezTo>
                    <a:pt x="1351555" y="1273427"/>
                    <a:pt x="1346778" y="1123536"/>
                    <a:pt x="1419270" y="997934"/>
                  </a:cubicBezTo>
                  <a:cubicBezTo>
                    <a:pt x="1528276" y="808827"/>
                    <a:pt x="1463610" y="567093"/>
                    <a:pt x="1274718" y="457879"/>
                  </a:cubicBezTo>
                  <a:close/>
                </a:path>
              </a:pathLst>
            </a:custGeom>
            <a:solidFill>
              <a:schemeClr val="accent2"/>
            </a:solidFill>
            <a:ln w="25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8598B9C8-77A8-3058-6E2A-F270B3CB745E}"/>
              </a:ext>
            </a:extLst>
          </p:cNvPr>
          <p:cNvSpPr txBox="1">
            <a:spLocks/>
          </p:cNvSpPr>
          <p:nvPr/>
        </p:nvSpPr>
        <p:spPr>
          <a:xfrm>
            <a:off x="604838" y="1471617"/>
            <a:ext cx="5861276" cy="22763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 spc="-100" baseline="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1" i="0" u="none" strike="noStrike" kern="1200" cap="none" spc="-100" normalizeH="0" baseline="0" noProof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Kisqali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A8B8BB5-6546-F5B5-D3FD-EAAF239CC1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478226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CB9E1FAE-AE79-A8A9-3ACC-8D35117EF3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9E1FAE-AE79-A8A9-3ACC-8D35117EF3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8C6AD3C6-5432-5F05-2D52-D055DEBFB3D6}"/>
              </a:ext>
            </a:extLst>
          </p:cNvPr>
          <p:cNvSpPr txBox="1">
            <a:spLocks/>
          </p:cNvSpPr>
          <p:nvPr/>
        </p:nvSpPr>
        <p:spPr>
          <a:xfrm>
            <a:off x="542621" y="205495"/>
            <a:ext cx="11512326" cy="5551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KISQALI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TAGE: Growth</a:t>
            </a:r>
            <a:br>
              <a: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</a:br>
            <a:endParaRPr kumimoji="0" lang="en-IN" sz="30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1EC57E09-C49C-95C1-239C-50CBBAFFCF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1096408"/>
              </p:ext>
            </p:extLst>
          </p:nvPr>
        </p:nvGraphicFramePr>
        <p:xfrm>
          <a:off x="8263337" y="2316634"/>
          <a:ext cx="3637443" cy="2028788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Innova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531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ig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gt;25% CDKS VS HORMONA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Medium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%-25% CDKS VS HORMONA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w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-10% CDKS VS HORMONA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1938BD33-49DE-A7DB-A859-906CC0BAEF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4451941"/>
              </p:ext>
            </p:extLst>
          </p:nvPr>
        </p:nvGraphicFramePr>
        <p:xfrm>
          <a:off x="439896" y="2316634"/>
          <a:ext cx="2111521" cy="2220427"/>
        </p:xfrm>
        <a:graphic>
          <a:graphicData uri="http://schemas.openxmlformats.org/drawingml/2006/table">
            <a:tbl>
              <a:tblPr/>
              <a:tblGrid>
                <a:gridCol w="1239763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871758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Market Sal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5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bemaciclib</a:t>
                      </a:r>
                    </a:p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Palbociclib</a:t>
                      </a:r>
                    </a:p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Ribociclib</a:t>
                      </a:r>
                    </a:p>
                    <a:p>
                      <a:pPr algn="ctr" fontAlgn="ctr"/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ormonal Therapy</a:t>
                      </a:r>
                    </a:p>
                    <a:p>
                      <a:pPr algn="ctr" fontAlgn="ctr"/>
                      <a:endParaRPr lang="en-IN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m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f</a:t>
                      </a:r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s-MX" sz="10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escriptions</a:t>
                      </a:r>
                      <a:endParaRPr lang="es-MX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AE0BC4B5-E99B-8968-189E-0DEA73C20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7278144"/>
              </p:ext>
            </p:extLst>
          </p:nvPr>
        </p:nvGraphicFramePr>
        <p:xfrm>
          <a:off x="2647406" y="2316634"/>
          <a:ext cx="1771811" cy="2535985"/>
        </p:xfrm>
        <a:graphic>
          <a:graphicData uri="http://schemas.openxmlformats.org/drawingml/2006/table">
            <a:tbl>
              <a:tblPr/>
              <a:tblGrid>
                <a:gridCol w="1117815">
                  <a:extLst>
                    <a:ext uri="{9D8B030D-6E8A-4147-A177-3AD203B41FA5}">
                      <a16:colId xmlns:a16="http://schemas.microsoft.com/office/drawing/2014/main" val="2321963324"/>
                    </a:ext>
                  </a:extLst>
                </a:gridCol>
                <a:gridCol w="653996">
                  <a:extLst>
                    <a:ext uri="{9D8B030D-6E8A-4147-A177-3AD203B41FA5}">
                      <a16:colId xmlns:a16="http://schemas.microsoft.com/office/drawing/2014/main" val="3973014528"/>
                    </a:ext>
                  </a:extLst>
                </a:gridCol>
              </a:tblGrid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Profil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rial Nova Cond" panose="020B0506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C7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3006088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Oncolog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6388667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Gynecology</a:t>
                      </a:r>
                      <a:endParaRPr lang="en-IN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ova Cond" panose="020B0506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6601028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Haematolog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7870216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Oth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ova Cond" panose="020B0506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5069074"/>
                  </a:ext>
                </a:extLst>
              </a:tr>
            </a:tbl>
          </a:graphicData>
        </a:graphic>
      </p:graphicFrame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FA7CF23F-E99C-4A58-C731-80DC1880DF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1983386"/>
              </p:ext>
            </p:extLst>
          </p:nvPr>
        </p:nvGraphicFramePr>
        <p:xfrm>
          <a:off x="4517379" y="2316634"/>
          <a:ext cx="3637443" cy="3008502"/>
        </p:xfrm>
        <a:graphic>
          <a:graphicData uri="http://schemas.openxmlformats.org/drawingml/2006/table">
            <a:tbl>
              <a:tblPr/>
              <a:tblGrid>
                <a:gridCol w="1511615">
                  <a:extLst>
                    <a:ext uri="{9D8B030D-6E8A-4147-A177-3AD203B41FA5}">
                      <a16:colId xmlns:a16="http://schemas.microsoft.com/office/drawing/2014/main" val="2646580020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1605190946"/>
                    </a:ext>
                  </a:extLst>
                </a:gridCol>
                <a:gridCol w="1062914">
                  <a:extLst>
                    <a:ext uri="{9D8B030D-6E8A-4147-A177-3AD203B41FA5}">
                      <a16:colId xmlns:a16="http://schemas.microsoft.com/office/drawing/2014/main" val="3967571826"/>
                    </a:ext>
                  </a:extLst>
                </a:gridCol>
              </a:tblGrid>
              <a:tr h="47251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urrent 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co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1" i="0" u="none" strike="noStrike" err="1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sc</a:t>
                      </a:r>
                      <a:endParaRPr lang="en-IN" sz="16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92232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Y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4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75%-10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847220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ANS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50%-75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386881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O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25%-50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56989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ALIS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8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0%-25%) M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654914"/>
                  </a:ext>
                </a:extLst>
              </a:tr>
              <a:tr h="507197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 PRESCRIBE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6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3153025"/>
                  </a:ext>
                </a:extLst>
              </a:tr>
            </a:tbl>
          </a:graphicData>
        </a:graphic>
      </p:graphicFrame>
      <p:grpSp>
        <p:nvGrpSpPr>
          <p:cNvPr id="55" name="Group 54">
            <a:extLst>
              <a:ext uri="{FF2B5EF4-FFF2-40B4-BE49-F238E27FC236}">
                <a16:creationId xmlns:a16="http://schemas.microsoft.com/office/drawing/2014/main" id="{7727BAE2-FE32-DC9A-FDDE-BE3FCABE3E12}"/>
              </a:ext>
            </a:extLst>
          </p:cNvPr>
          <p:cNvGrpSpPr/>
          <p:nvPr/>
        </p:nvGrpSpPr>
        <p:grpSpPr>
          <a:xfrm>
            <a:off x="435736" y="1014119"/>
            <a:ext cx="11516974" cy="836137"/>
            <a:chOff x="435736" y="1014119"/>
            <a:chExt cx="11516974" cy="836137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6A0924A2-1024-3D34-47EF-100A646B944F}"/>
                </a:ext>
              </a:extLst>
            </p:cNvPr>
            <p:cNvSpPr/>
            <p:nvPr/>
          </p:nvSpPr>
          <p:spPr>
            <a:xfrm>
              <a:off x="440384" y="1028375"/>
              <a:ext cx="11512326" cy="406537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57" name="Graphic 56" descr="User with solid fill">
              <a:extLst>
                <a:ext uri="{FF2B5EF4-FFF2-40B4-BE49-F238E27FC236}">
                  <a16:creationId xmlns:a16="http://schemas.microsoft.com/office/drawing/2014/main" id="{12733BDA-B0CA-C533-2C80-B39630C3A1D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4670386" y="1014600"/>
              <a:ext cx="349338" cy="394250"/>
            </a:xfrm>
            <a:prstGeom prst="rect">
              <a:avLst/>
            </a:prstGeom>
          </p:spPr>
        </p:pic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F40D7D0-D97A-4AC0-913E-51F11A96BBBE}"/>
                </a:ext>
              </a:extLst>
            </p:cNvPr>
            <p:cNvSpPr/>
            <p:nvPr/>
          </p:nvSpPr>
          <p:spPr>
            <a:xfrm>
              <a:off x="9372599" y="1033353"/>
              <a:ext cx="2569605" cy="387303"/>
            </a:xfrm>
            <a:prstGeom prst="rect">
              <a:avLst/>
            </a:prstGeom>
            <a:solidFill>
              <a:srgbClr val="27531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FF335F6-2092-5D48-93E0-041C33224EFF}"/>
                </a:ext>
              </a:extLst>
            </p:cNvPr>
            <p:cNvSpPr/>
            <p:nvPr/>
          </p:nvSpPr>
          <p:spPr>
            <a:xfrm>
              <a:off x="4572615" y="1087934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rofile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5E87BF57-6DA3-62B1-45CD-4D03429ABBED}"/>
                </a:ext>
              </a:extLst>
            </p:cNvPr>
            <p:cNvSpPr/>
            <p:nvPr/>
          </p:nvSpPr>
          <p:spPr>
            <a:xfrm>
              <a:off x="9918234" y="1038759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Innovation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54B2B8C-5298-9F2A-EA67-0FC5DD23AA2F}"/>
                </a:ext>
              </a:extLst>
            </p:cNvPr>
            <p:cNvSpPr txBox="1"/>
            <p:nvPr/>
          </p:nvSpPr>
          <p:spPr>
            <a:xfrm>
              <a:off x="2162875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4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DE6B487E-2B14-6B69-E850-653DE8FC9AB2}"/>
                </a:ext>
              </a:extLst>
            </p:cNvPr>
            <p:cNvSpPr txBox="1"/>
            <p:nvPr/>
          </p:nvSpPr>
          <p:spPr>
            <a:xfrm>
              <a:off x="10429787" y="1470549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2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D58C9F28-07FB-6239-DBCB-F36EE8E487CF}"/>
                </a:ext>
              </a:extLst>
            </p:cNvPr>
            <p:cNvSpPr txBox="1"/>
            <p:nvPr/>
          </p:nvSpPr>
          <p:spPr>
            <a:xfrm>
              <a:off x="5217515" y="1480924"/>
              <a:ext cx="86898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rgbClr val="000000"/>
                  </a:solidFill>
                  <a:latin typeface="Arial Nova Cond" panose="020B0506020202020204" pitchFamily="34" charset="0"/>
                </a:rPr>
                <a:t>1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F1C7EB96-3B6E-D90F-1F09-5B5DE78A35C1}"/>
                </a:ext>
              </a:extLst>
            </p:cNvPr>
            <p:cNvSpPr/>
            <p:nvPr/>
          </p:nvSpPr>
          <p:spPr>
            <a:xfrm>
              <a:off x="6095999" y="1038759"/>
              <a:ext cx="3276599" cy="385192"/>
            </a:xfrm>
            <a:prstGeom prst="rect">
              <a:avLst/>
            </a:prstGeom>
            <a:solidFill>
              <a:srgbClr val="022A4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           </a:t>
              </a: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Adoption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99C5682-5515-7CF1-5F38-234FC5BE839A}"/>
                </a:ext>
              </a:extLst>
            </p:cNvPr>
            <p:cNvSpPr txBox="1"/>
            <p:nvPr/>
          </p:nvSpPr>
          <p:spPr>
            <a:xfrm>
              <a:off x="7734298" y="1480924"/>
              <a:ext cx="669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30%</a:t>
              </a:r>
              <a:endParaRPr kumimoji="0" lang="en-IN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66" name="Graphic 65" descr="DNA with solid fill">
              <a:extLst>
                <a:ext uri="{FF2B5EF4-FFF2-40B4-BE49-F238E27FC236}">
                  <a16:creationId xmlns:a16="http://schemas.microsoft.com/office/drawing/2014/main" id="{E9245180-B87E-7BCC-FD62-B328B2DD8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9532624">
              <a:off x="9866010" y="1052080"/>
              <a:ext cx="351019" cy="351019"/>
            </a:xfrm>
            <a:prstGeom prst="rect">
              <a:avLst/>
            </a:prstGeom>
          </p:spPr>
        </p:pic>
        <p:pic>
          <p:nvPicPr>
            <p:cNvPr id="67" name="Graphic 66" descr="First aid kit with solid fill">
              <a:extLst>
                <a:ext uri="{FF2B5EF4-FFF2-40B4-BE49-F238E27FC236}">
                  <a16:creationId xmlns:a16="http://schemas.microsoft.com/office/drawing/2014/main" id="{B0404BEF-F9BB-ABC8-65FB-05FF2CD13A7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298784" y="1038759"/>
              <a:ext cx="312298" cy="358409"/>
            </a:xfrm>
            <a:prstGeom prst="rect">
              <a:avLst/>
            </a:prstGeom>
          </p:spPr>
        </p:pic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C091E03D-9227-6BB3-431D-00595CF52C34}"/>
                </a:ext>
              </a:extLst>
            </p:cNvPr>
            <p:cNvSpPr/>
            <p:nvPr/>
          </p:nvSpPr>
          <p:spPr>
            <a:xfrm>
              <a:off x="435736" y="1025080"/>
              <a:ext cx="4203500" cy="41523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innerShdw blurRad="63500" dist="508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69" name="Graphic 68" descr="Mountains with solid fill">
              <a:extLst>
                <a:ext uri="{FF2B5EF4-FFF2-40B4-BE49-F238E27FC236}">
                  <a16:creationId xmlns:a16="http://schemas.microsoft.com/office/drawing/2014/main" id="{1F472E8E-EAED-71A3-0380-C48BDBCA1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021797" y="1014119"/>
              <a:ext cx="341338" cy="394252"/>
            </a:xfrm>
            <a:prstGeom prst="rect">
              <a:avLst/>
            </a:prstGeom>
          </p:spPr>
        </p:pic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1B6CD9DF-BDFD-200F-6340-7ACC627B3A55}"/>
                </a:ext>
              </a:extLst>
            </p:cNvPr>
            <p:cNvSpPr/>
            <p:nvPr/>
          </p:nvSpPr>
          <p:spPr>
            <a:xfrm>
              <a:off x="1988866" y="1080651"/>
              <a:ext cx="1824067" cy="289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Arial" pitchFamily="34" charset="0"/>
                </a:rPr>
                <a:t>Potential</a:t>
              </a: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BEB4A374-E088-BE24-34FE-875469D0E75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94256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5XDcnMAj04fBq5jNcZL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Novartis | Reimagining Medicine">
  <a:themeElements>
    <a:clrScheme name="Novartis">
      <a:dk1>
        <a:srgbClr val="000000"/>
      </a:dk1>
      <a:lt1>
        <a:srgbClr val="FFFFFF"/>
      </a:lt1>
      <a:dk2>
        <a:srgbClr val="000000"/>
      </a:dk2>
      <a:lt2>
        <a:srgbClr val="FFC100"/>
      </a:lt2>
      <a:accent1>
        <a:srgbClr val="002068"/>
      </a:accent1>
      <a:accent2>
        <a:srgbClr val="8F2DDE"/>
      </a:accent2>
      <a:accent3>
        <a:srgbClr val="50E2D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rtis_Reimagining_Medicine_PPT_16x9_070923" id="{455FDF3F-11C0-4895-A24F-CE9435EEA844}" vid="{5CEC042C-CB45-4A7A-9F6F-EBA41515D1A7}"/>
    </a:ext>
  </a:extLst>
</a:theme>
</file>

<file path=ppt/theme/theme3.xml><?xml version="1.0" encoding="utf-8"?>
<a:theme xmlns:a="http://schemas.openxmlformats.org/drawingml/2006/main" name="1_Novartis | Reimagining Medicine">
  <a:themeElements>
    <a:clrScheme name="Novartis">
      <a:dk1>
        <a:srgbClr val="000000"/>
      </a:dk1>
      <a:lt1>
        <a:srgbClr val="FFFFFF"/>
      </a:lt1>
      <a:dk2>
        <a:srgbClr val="000000"/>
      </a:dk2>
      <a:lt2>
        <a:srgbClr val="FFC100"/>
      </a:lt2>
      <a:accent1>
        <a:srgbClr val="002068"/>
      </a:accent1>
      <a:accent2>
        <a:srgbClr val="8F2DDE"/>
      </a:accent2>
      <a:accent3>
        <a:srgbClr val="50E2D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Office Theme">
  <a:themeElements>
    <a:clrScheme name="NVS">
      <a:dk1>
        <a:srgbClr val="000000"/>
      </a:dk1>
      <a:lt1>
        <a:srgbClr val="FFFFFF"/>
      </a:lt1>
      <a:dk2>
        <a:srgbClr val="0260A9"/>
      </a:dk2>
      <a:lt2>
        <a:srgbClr val="E7E6E6"/>
      </a:lt2>
      <a:accent1>
        <a:srgbClr val="085EA9"/>
      </a:accent1>
      <a:accent2>
        <a:srgbClr val="EC9A1B"/>
      </a:accent2>
      <a:accent3>
        <a:srgbClr val="E64920"/>
      </a:accent3>
      <a:accent4>
        <a:srgbClr val="000000"/>
      </a:accent4>
      <a:accent5>
        <a:srgbClr val="3E415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60</Words>
  <Application>Microsoft Office PowerPoint</Application>
  <PresentationFormat>Widescreen</PresentationFormat>
  <Paragraphs>801</Paragraphs>
  <Slides>23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9" baseType="lpstr">
      <vt:lpstr>Ping LCG Medium</vt:lpstr>
      <vt:lpstr>Aptos</vt:lpstr>
      <vt:lpstr>Aptos Display</vt:lpstr>
      <vt:lpstr>Aptos Narrow</vt:lpstr>
      <vt:lpstr>Arial</vt:lpstr>
      <vt:lpstr>Arial Black</vt:lpstr>
      <vt:lpstr>Arial Nova Cond</vt:lpstr>
      <vt:lpstr>Calibri</vt:lpstr>
      <vt:lpstr>Georgia</vt:lpstr>
      <vt:lpstr>Roboto</vt:lpstr>
      <vt:lpstr>Wingdings</vt:lpstr>
      <vt:lpstr>Office Theme</vt:lpstr>
      <vt:lpstr>Novartis | Reimagining Medicine</vt:lpstr>
      <vt:lpstr>1_Novartis | Reimagining Medicine</vt:lpstr>
      <vt:lpstr>2_Office Theme</vt:lpstr>
      <vt:lpstr>think-cell Slide</vt:lpstr>
      <vt:lpstr>PowerPoint Presentation</vt:lpstr>
      <vt:lpstr>Maximizing value  through Life Cycle Management </vt:lpstr>
      <vt:lpstr>Weights for the value drivers are dependent on multiple factors and could change over the brand lifecycle</vt:lpstr>
      <vt:lpstr>Weights for the value drivers are dependent on multiple factors and could change over the brand lifecyc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dono Florez, Manuela</dc:creator>
  <cp:lastModifiedBy>Rojas, Guillermo-1 (Ext)</cp:lastModifiedBy>
  <cp:revision>4</cp:revision>
  <dcterms:created xsi:type="dcterms:W3CDTF">2024-08-29T16:46:28Z</dcterms:created>
  <dcterms:modified xsi:type="dcterms:W3CDTF">2024-09-10T14:5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4-08-29T18:28:06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3d445cab-dd61-42c8-b2f8-78c13d257fe0</vt:lpwstr>
  </property>
  <property fmtid="{D5CDD505-2E9C-101B-9397-08002B2CF9AE}" pid="8" name="MSIP_Label_3c9bec58-8084-492e-8360-0e1cfe36408c_ContentBits">
    <vt:lpwstr>0</vt:lpwstr>
  </property>
</Properties>
</file>